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12" r:id="rId5"/>
  </p:sldMasterIdLst>
  <p:notesMasterIdLst>
    <p:notesMasterId r:id="rId15"/>
  </p:notesMasterIdLst>
  <p:sldIdLst>
    <p:sldId id="270" r:id="rId6"/>
    <p:sldId id="921" r:id="rId7"/>
    <p:sldId id="922" r:id="rId8"/>
    <p:sldId id="923" r:id="rId9"/>
    <p:sldId id="924" r:id="rId10"/>
    <p:sldId id="925" r:id="rId11"/>
    <p:sldId id="927" r:id="rId12"/>
    <p:sldId id="928" r:id="rId13"/>
    <p:sldId id="929" r:id="rId14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dhamohan, Ranjan S" initials="RRS" lastIdx="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64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14" autoAdjust="0"/>
    <p:restoredTop sz="95036" autoAdjust="0"/>
  </p:normalViewPr>
  <p:slideViewPr>
    <p:cSldViewPr snapToGrid="0">
      <p:cViewPr varScale="1">
        <p:scale>
          <a:sx n="105" d="100"/>
          <a:sy n="105" d="100"/>
        </p:scale>
        <p:origin x="82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EC6E045-CC29-479D-9D2A-967DF6B9577E}" type="datetimeFigureOut">
              <a:rPr lang="en-US" smtClean="0"/>
              <a:t>6/2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B6B7AB5-28F2-417B-A8CE-349834B31E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9304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6B7AB5-28F2-417B-A8CE-349834B31E5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02296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6B7AB5-28F2-417B-A8CE-349834B31E5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3872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6B7AB5-28F2-417B-A8CE-349834B31E5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6912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7652" y="2961597"/>
            <a:ext cx="10950515" cy="1470025"/>
          </a:xfrm>
        </p:spPr>
        <p:txBody>
          <a:bodyPr lIns="0" rIns="0" anchor="b" anchorCtr="0">
            <a:noAutofit/>
          </a:bodyPr>
          <a:lstStyle>
            <a:lvl1pPr>
              <a:defRPr sz="3733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err="1"/>
              <a:t>28pt</a:t>
            </a:r>
            <a:r>
              <a:rPr lang="en-US"/>
              <a:t> Arial Presentation Title</a:t>
            </a:r>
            <a:br>
              <a:rPr lang="en-US"/>
            </a:br>
            <a:r>
              <a:rPr lang="en-US"/>
              <a:t>Title of Presentation Line Two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7484" y="4651631"/>
            <a:ext cx="8440283" cy="1233813"/>
          </a:xfrm>
        </p:spPr>
        <p:txBody>
          <a:bodyPr lIns="0" rIns="0">
            <a:noAutofit/>
          </a:bodyPr>
          <a:lstStyle>
            <a:lvl1pPr marL="0" indent="0" algn="l">
              <a:buNone/>
              <a:defRPr sz="16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err="1"/>
              <a:t>12pt</a:t>
            </a:r>
            <a:r>
              <a:rPr lang="en-US"/>
              <a:t> Arial Bolded Subhead, Date, Etc.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607484" y="6417734"/>
            <a:ext cx="2192908" cy="16421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 rtl="0"/>
            <a:r>
              <a:rPr lang="en-US" sz="1067" b="0" i="0" u="none" strike="noStrike" kern="1200" baseline="0">
                <a:solidFill>
                  <a:schemeClr val="accent3"/>
                </a:solidFill>
                <a:latin typeface="+mn-lt"/>
                <a:ea typeface="+mn-ea"/>
                <a:cs typeface="Arial" panose="020B0604020202020204" pitchFamily="34" charset="0"/>
              </a:rPr>
              <a:t>Intel Confidential — Do Not Forward</a:t>
            </a:r>
          </a:p>
        </p:txBody>
      </p:sp>
      <p:pic>
        <p:nvPicPr>
          <p:cNvPr id="9" name="Picture 3" descr="W:\Clients\Intel\PRODUCTION\2012_13_Production\ASSETS_LOGOS_2012-13\Assets_Complete_2012-13\ PEEL AWAY\Intel_Peels\Intel_Peels_RGB\Peel_rgb_png\peel_rt_btm_drkBlue_rgb_216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0047" y="5380857"/>
            <a:ext cx="1901952" cy="1470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2096" y="1909728"/>
            <a:ext cx="2732848" cy="767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84924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White 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7484" y="2159449"/>
            <a:ext cx="10363200" cy="1362075"/>
          </a:xfrm>
        </p:spPr>
        <p:txBody>
          <a:bodyPr anchor="b" anchorCtr="0">
            <a:noAutofit/>
          </a:bodyPr>
          <a:lstStyle>
            <a:lvl1pPr algn="l">
              <a:defRPr sz="3733" b="0" cap="none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err="1"/>
              <a:t>28pt</a:t>
            </a:r>
            <a:r>
              <a:rPr lang="en-US"/>
              <a:t> Arial Tex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7484" y="3670233"/>
            <a:ext cx="10363200" cy="1500187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accent2"/>
                </a:solidFill>
                <a:latin typeface="+mn-lt"/>
                <a:cs typeface="Arial" panose="020B060402020202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err="1"/>
              <a:t>12pt</a:t>
            </a:r>
            <a:r>
              <a:rPr lang="en-US"/>
              <a:t> Arial Bolded Subhea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2556C5-CE8C-6547-B838-EA80C61A4AF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2818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Blue 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\\.psf\Home\Desktop\WideFooterAIRev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16" y="6409112"/>
            <a:ext cx="12192000" cy="448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607484" y="2159449"/>
            <a:ext cx="10363200" cy="1362075"/>
          </a:xfrm>
        </p:spPr>
        <p:txBody>
          <a:bodyPr anchor="b" anchorCtr="0">
            <a:noAutofit/>
          </a:bodyPr>
          <a:lstStyle>
            <a:lvl1pPr algn="l">
              <a:defRPr sz="3733" b="0" cap="none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err="1"/>
              <a:t>28pt</a:t>
            </a:r>
            <a:r>
              <a:rPr lang="en-US"/>
              <a:t> Arial Text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 hasCustomPrompt="1"/>
          </p:nvPr>
        </p:nvSpPr>
        <p:spPr>
          <a:xfrm>
            <a:off x="607484" y="3670233"/>
            <a:ext cx="10363200" cy="1500187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accent3"/>
                </a:solidFill>
                <a:latin typeface="+mn-lt"/>
                <a:cs typeface="Arial" panose="020B060402020202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err="1"/>
              <a:t>12pt</a:t>
            </a:r>
            <a:r>
              <a:rPr lang="en-US"/>
              <a:t> Arial Bolded Subhead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E2556C5-CE8C-6547-B838-EA80C61A4AF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607484" y="6417734"/>
            <a:ext cx="2192908" cy="16421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 rtl="0"/>
            <a:r>
              <a:rPr lang="en-US" sz="1067" b="0" i="0" u="none" strike="noStrike" kern="1200" baseline="0">
                <a:solidFill>
                  <a:schemeClr val="accent3"/>
                </a:solidFill>
                <a:latin typeface="+mn-lt"/>
                <a:ea typeface="+mn-ea"/>
                <a:cs typeface="Arial" panose="020B0604020202020204" pitchFamily="34" charset="0"/>
              </a:rPr>
              <a:t>Intel Confidential — Do Not Forward</a:t>
            </a:r>
          </a:p>
        </p:txBody>
      </p:sp>
    </p:spTree>
    <p:extLst>
      <p:ext uri="{BB962C8B-B14F-4D97-AF65-F5344CB8AC3E}">
        <p14:creationId xmlns:p14="http://schemas.microsoft.com/office/powerpoint/2010/main" val="19173276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Section Break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\\.psf\Home\Desktop\WideFooterAIRev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16" y="6409112"/>
            <a:ext cx="12192000" cy="448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7484" y="2871402"/>
            <a:ext cx="10363200" cy="1362075"/>
          </a:xfrm>
        </p:spPr>
        <p:txBody>
          <a:bodyPr anchor="b" anchorCtr="0">
            <a:noAutofit/>
          </a:bodyPr>
          <a:lstStyle>
            <a:lvl1pPr algn="l">
              <a:defRPr sz="3733" b="0" cap="none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err="1"/>
              <a:t>28pt</a:t>
            </a:r>
            <a:r>
              <a:rPr lang="en-US"/>
              <a:t> Arial Tex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7484" y="4382188"/>
            <a:ext cx="10363200" cy="1500187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>
                <a:solidFill>
                  <a:schemeClr val="accent3"/>
                </a:solidFill>
                <a:latin typeface="+mn-lt"/>
                <a:cs typeface="Arial" panose="020B060402020202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err="1"/>
              <a:t>12pt</a:t>
            </a:r>
            <a:r>
              <a:rPr lang="en-US"/>
              <a:t> Arial Bolded Subhea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E2556C5-CE8C-6547-B838-EA80C61A4AF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12192000" cy="343217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607484" y="6417734"/>
            <a:ext cx="2192908" cy="16421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 rtl="0"/>
            <a:r>
              <a:rPr lang="en-US" sz="1067" b="0" i="0" u="none" strike="noStrike" kern="1200" baseline="0">
                <a:solidFill>
                  <a:schemeClr val="accent3"/>
                </a:solidFill>
                <a:latin typeface="+mn-lt"/>
                <a:ea typeface="+mn-ea"/>
                <a:cs typeface="Arial" panose="020B0604020202020204" pitchFamily="34" charset="0"/>
              </a:rPr>
              <a:t>Intel Confidential — Do Not Forward</a:t>
            </a:r>
          </a:p>
        </p:txBody>
      </p:sp>
    </p:spTree>
    <p:extLst>
      <p:ext uri="{BB962C8B-B14F-4D97-AF65-F5344CB8AC3E}">
        <p14:creationId xmlns:p14="http://schemas.microsoft.com/office/powerpoint/2010/main" val="16169541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7484" y="431331"/>
            <a:ext cx="10970683" cy="1158240"/>
          </a:xfrm>
        </p:spPr>
        <p:txBody>
          <a:bodyPr/>
          <a:lstStyle>
            <a:lvl1pPr>
              <a:defRPr/>
            </a:lvl1pPr>
          </a:lstStyle>
          <a:p>
            <a:r>
              <a:rPr lang="en-US" err="1"/>
              <a:t>28pt</a:t>
            </a:r>
            <a:r>
              <a:rPr lang="en-US"/>
              <a:t> Arial Head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62367"/>
            <a:ext cx="284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66081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2163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ck 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07484" y="6417734"/>
            <a:ext cx="2192908" cy="16421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 rtl="0"/>
            <a:r>
              <a:rPr lang="en-US" sz="1067" b="0" i="0" u="none" strike="noStrike" kern="1200" baseline="0">
                <a:solidFill>
                  <a:schemeClr val="accent3"/>
                </a:solidFill>
                <a:latin typeface="+mn-lt"/>
                <a:ea typeface="+mn-ea"/>
                <a:cs typeface="Arial" panose="020B0604020202020204" pitchFamily="34" charset="0"/>
              </a:rPr>
              <a:t>Intel Confidential — Do Not Forward</a:t>
            </a:r>
          </a:p>
        </p:txBody>
      </p:sp>
      <p:pic>
        <p:nvPicPr>
          <p:cNvPr id="4" name="Picture 2" descr="\\.psf\Home\Desktop\Intel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6577" y="2500173"/>
            <a:ext cx="2811727" cy="1853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907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with Radial Gradien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92916" y="3305897"/>
            <a:ext cx="10950515" cy="1470025"/>
          </a:xfrm>
        </p:spPr>
        <p:txBody>
          <a:bodyPr lIns="0" rIns="0" anchor="b" anchorCtr="0">
            <a:noAutofit/>
          </a:bodyPr>
          <a:lstStyle>
            <a:lvl1pPr>
              <a:lnSpc>
                <a:spcPct val="80000"/>
              </a:lnSpc>
              <a:defRPr sz="8666" b="0" spc="0" baseline="0">
                <a:solidFill>
                  <a:schemeClr val="bg1"/>
                </a:solidFill>
                <a:latin typeface="Intel Clear Pro" panose="020B0804020202060201" pitchFamily="34" charset="0"/>
                <a:cs typeface="Intel Clear Pro" panose="020B0804020202060201" pitchFamily="34" charset="0"/>
              </a:defRPr>
            </a:lvl1pPr>
          </a:lstStyle>
          <a:p>
            <a:r>
              <a:rPr lang="en-US"/>
              <a:t>65pt Intel Clear pro Title</a:t>
            </a:r>
            <a:br>
              <a:rPr lang="en-US"/>
            </a:br>
            <a:r>
              <a:rPr lang="en-US"/>
              <a:t>with radial gradien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7484" y="4657344"/>
            <a:ext cx="8440283" cy="1233813"/>
          </a:xfrm>
        </p:spPr>
        <p:txBody>
          <a:bodyPr lIns="0" rIns="0">
            <a:noAutofit/>
          </a:bodyPr>
          <a:lstStyle>
            <a:lvl1pPr marL="0" indent="0" algn="l">
              <a:buNone/>
              <a:defRPr sz="2133" b="0" i="0" baseline="0">
                <a:solidFill>
                  <a:srgbClr val="F3D54E"/>
                </a:solidFill>
                <a:latin typeface="Intel Clear"/>
                <a:cs typeface="Intel Clear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16pt Intel Clear Subhead, Date, Etc.</a:t>
            </a:r>
          </a:p>
        </p:txBody>
      </p:sp>
      <p:pic>
        <p:nvPicPr>
          <p:cNvPr id="10" name="Picture 9" descr="int_experience_hrz_wht_rgb_1500.png"/>
          <p:cNvPicPr>
            <a:picLocks noChangeAspect="1"/>
          </p:cNvPicPr>
          <p:nvPr userDrawn="1"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258" y="518971"/>
            <a:ext cx="2829021" cy="1183045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154228" y="6500108"/>
            <a:ext cx="1298432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609585"/>
            <a:r>
              <a:rPr lang="en-US" sz="1200">
                <a:solidFill>
                  <a:prstClr val="white"/>
                </a:solidFill>
                <a:cs typeface="Neo Sans Intel"/>
              </a:rPr>
              <a:t>Data Center Group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4699316" y="6493663"/>
            <a:ext cx="1205458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609585"/>
            <a:r>
              <a:rPr lang="en-US" sz="1200">
                <a:solidFill>
                  <a:prstClr val="white"/>
                </a:solidFill>
                <a:cs typeface="Neo Sans Intel"/>
              </a:rPr>
              <a:t>Intel Confidential</a:t>
            </a:r>
          </a:p>
        </p:txBody>
      </p:sp>
    </p:spTree>
    <p:extLst>
      <p:ext uri="{BB962C8B-B14F-4D97-AF65-F5344CB8AC3E}">
        <p14:creationId xmlns:p14="http://schemas.microsoft.com/office/powerpoint/2010/main" val="9167609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63136" y="6432516"/>
            <a:ext cx="2844800" cy="365125"/>
          </a:xfrm>
          <a:prstGeom prst="rect">
            <a:avLst/>
          </a:prstGeom>
        </p:spPr>
        <p:txBody>
          <a:bodyPr/>
          <a:lstStyle/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07484" y="411797"/>
            <a:ext cx="10972800" cy="1158240"/>
          </a:xfrm>
        </p:spPr>
        <p:txBody>
          <a:bodyPr/>
          <a:lstStyle>
            <a:lvl1pPr>
              <a:defRPr b="0" i="0" baseline="0">
                <a:solidFill>
                  <a:srgbClr val="003C71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607484" y="1604434"/>
            <a:ext cx="10970683" cy="4567767"/>
          </a:xfrm>
        </p:spPr>
        <p:txBody>
          <a:bodyPr/>
          <a:lstStyle>
            <a:lvl1pPr>
              <a:defRPr>
                <a:solidFill>
                  <a:srgbClr val="0071C5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133"/>
            </a:lvl4pPr>
          </a:lstStyle>
          <a:p>
            <a:pPr lvl="1"/>
            <a:r>
              <a:rPr lang="en-US"/>
              <a:t>18pt Intel Clear bullet one</a:t>
            </a:r>
          </a:p>
          <a:p>
            <a:pPr lvl="2"/>
            <a:r>
              <a:rPr lang="en-US"/>
              <a:t>18pt Intel Clear sub-bullet</a:t>
            </a:r>
          </a:p>
          <a:p>
            <a:pPr lvl="3"/>
            <a:r>
              <a:rPr lang="en-US"/>
              <a:t>16pt Intel Clear fourth level</a:t>
            </a:r>
          </a:p>
          <a:p>
            <a:pPr lvl="4"/>
            <a:r>
              <a:rPr lang="en-US" err="1"/>
              <a:t>14pt</a:t>
            </a:r>
            <a:r>
              <a:rPr lang="en-US"/>
              <a:t> Intel Clear fifth level</a:t>
            </a:r>
          </a:p>
        </p:txBody>
      </p:sp>
    </p:spTree>
    <p:extLst>
      <p:ext uri="{BB962C8B-B14F-4D97-AF65-F5344CB8AC3E}">
        <p14:creationId xmlns:p14="http://schemas.microsoft.com/office/powerpoint/2010/main" val="38590782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163136" y="6432516"/>
            <a:ext cx="2844800" cy="365125"/>
          </a:xfrm>
          <a:prstGeom prst="rect">
            <a:avLst/>
          </a:prstGeom>
        </p:spPr>
        <p:txBody>
          <a:bodyPr/>
          <a:lstStyle/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7485" y="1604433"/>
            <a:ext cx="5342468" cy="456776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sz="1867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</a:t>
            </a:r>
            <a:r>
              <a:rPr lang="en-US"/>
              <a:t> Intel Clear third level</a:t>
            </a:r>
          </a:p>
          <a:p>
            <a:pPr lvl="3"/>
            <a:r>
              <a:rPr lang="en-US" err="1"/>
              <a:t>12pt</a:t>
            </a:r>
            <a:r>
              <a:rPr lang="en-US"/>
              <a:t> Intel Clear fourth level</a:t>
            </a:r>
          </a:p>
          <a:p>
            <a:pPr lvl="4"/>
            <a:r>
              <a:rPr lang="en-US" err="1"/>
              <a:t>12pt</a:t>
            </a:r>
            <a:r>
              <a:rPr lang="en-US"/>
              <a:t> Intel Clear fifth level</a:t>
            </a:r>
          </a:p>
        </p:txBody>
      </p:sp>
      <p:sp>
        <p:nvSpPr>
          <p:cNvPr id="8" name="Title 6"/>
          <p:cNvSpPr>
            <a:spLocks noGrp="1"/>
          </p:cNvSpPr>
          <p:nvPr>
            <p:ph type="title" hasCustomPrompt="1"/>
          </p:nvPr>
        </p:nvSpPr>
        <p:spPr>
          <a:xfrm>
            <a:off x="607484" y="411797"/>
            <a:ext cx="10972800" cy="1158240"/>
          </a:xfrm>
        </p:spPr>
        <p:txBody>
          <a:bodyPr/>
          <a:lstStyle>
            <a:lvl1pPr>
              <a:defRPr b="0" i="0" baseline="0">
                <a:solidFill>
                  <a:srgbClr val="003C71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441018" y="1257907"/>
            <a:ext cx="4241497" cy="2227933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>
              <a:defRPr sz="2400">
                <a:latin typeface="Intel Clear"/>
              </a:defRPr>
            </a:lvl1pPr>
          </a:lstStyle>
          <a:p>
            <a:endParaRPr lang="en-US" sz="1467">
              <a:latin typeface="Arial"/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441018" y="3791863"/>
            <a:ext cx="4241497" cy="2227933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>
              <a:defRPr sz="2400">
                <a:latin typeface="Intel Clear"/>
              </a:defRPr>
            </a:lvl1pPr>
          </a:lstStyle>
          <a:p>
            <a:endParaRPr lang="en-US" sz="1467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921018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163136" y="6432516"/>
            <a:ext cx="2844800" cy="365125"/>
          </a:xfrm>
          <a:prstGeom prst="rect">
            <a:avLst/>
          </a:prstGeom>
        </p:spPr>
        <p:txBody>
          <a:bodyPr/>
          <a:lstStyle/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7485" y="1604433"/>
            <a:ext cx="5342468" cy="4567767"/>
          </a:xfr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sz="1867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</a:t>
            </a:r>
            <a:r>
              <a:rPr lang="en-US"/>
              <a:t> Intel Clear third level</a:t>
            </a:r>
          </a:p>
          <a:p>
            <a:pPr lvl="3"/>
            <a:r>
              <a:rPr lang="en-US" err="1"/>
              <a:t>12pt</a:t>
            </a:r>
            <a:r>
              <a:rPr lang="en-US"/>
              <a:t> Intel Clear fourth level</a:t>
            </a:r>
          </a:p>
          <a:p>
            <a:pPr lvl="4"/>
            <a:r>
              <a:rPr lang="en-US" err="1"/>
              <a:t>12pt</a:t>
            </a:r>
            <a:r>
              <a:rPr lang="en-US"/>
              <a:t> Intel Clear 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6237817" y="1604433"/>
            <a:ext cx="5340352" cy="4567767"/>
          </a:xfr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sz="1867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</a:t>
            </a:r>
            <a:r>
              <a:rPr lang="en-US"/>
              <a:t> Intel Clear third level</a:t>
            </a:r>
          </a:p>
          <a:p>
            <a:pPr lvl="3"/>
            <a:r>
              <a:rPr lang="en-US" err="1"/>
              <a:t>12pt</a:t>
            </a:r>
            <a:r>
              <a:rPr lang="en-US"/>
              <a:t> Intel Clear fourth level</a:t>
            </a:r>
          </a:p>
          <a:p>
            <a:pPr lvl="4"/>
            <a:r>
              <a:rPr lang="en-US" err="1"/>
              <a:t>12pt</a:t>
            </a:r>
            <a:r>
              <a:rPr lang="en-US"/>
              <a:t> Intel Clear fifth level</a:t>
            </a:r>
          </a:p>
        </p:txBody>
      </p:sp>
      <p:sp>
        <p:nvSpPr>
          <p:cNvPr id="8" name="Title 6"/>
          <p:cNvSpPr>
            <a:spLocks noGrp="1"/>
          </p:cNvSpPr>
          <p:nvPr>
            <p:ph type="title" hasCustomPrompt="1"/>
          </p:nvPr>
        </p:nvSpPr>
        <p:spPr>
          <a:xfrm>
            <a:off x="607484" y="411797"/>
            <a:ext cx="10972800" cy="1158240"/>
          </a:xfrm>
        </p:spPr>
        <p:txBody>
          <a:bodyPr/>
          <a:lstStyle>
            <a:lvl1pPr>
              <a:defRPr b="0" i="0" baseline="0">
                <a:solidFill>
                  <a:srgbClr val="003C71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</p:spTree>
    <p:extLst>
      <p:ext uri="{BB962C8B-B14F-4D97-AF65-F5344CB8AC3E}">
        <p14:creationId xmlns:p14="http://schemas.microsoft.com/office/powerpoint/2010/main" val="37859122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7652" y="3140901"/>
            <a:ext cx="10950515" cy="1470025"/>
          </a:xfrm>
        </p:spPr>
        <p:txBody>
          <a:bodyPr lIns="0" rIns="0" anchor="b" anchorCtr="0">
            <a:noAutofit/>
          </a:bodyPr>
          <a:lstStyle>
            <a:lvl1pPr>
              <a:defRPr sz="3733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err="1"/>
              <a:t>28pt</a:t>
            </a:r>
            <a:r>
              <a:rPr lang="en-US"/>
              <a:t> Arial Presentation Title</a:t>
            </a:r>
            <a:br>
              <a:rPr lang="en-US"/>
            </a:br>
            <a:r>
              <a:rPr lang="en-US"/>
              <a:t>Title of Presentation Line Two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7484" y="4830935"/>
            <a:ext cx="8440283" cy="1233813"/>
          </a:xfrm>
        </p:spPr>
        <p:txBody>
          <a:bodyPr lIns="0" rIns="0">
            <a:noAutofit/>
          </a:bodyPr>
          <a:lstStyle>
            <a:lvl1pPr marL="0" indent="0" algn="l">
              <a:buNone/>
              <a:defRPr sz="1600" b="1" baseline="0">
                <a:solidFill>
                  <a:srgbClr val="FFDA00"/>
                </a:solidFill>
                <a:latin typeface="+mn-lt"/>
                <a:cs typeface="Arial" panose="020B06040202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err="1"/>
              <a:t>12pt</a:t>
            </a:r>
            <a:r>
              <a:rPr lang="en-US"/>
              <a:t> Arial Bolded Subhead, Date, Etc.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607484" y="6417734"/>
            <a:ext cx="2192908" cy="16421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 rtl="0"/>
            <a:r>
              <a:rPr lang="en-US" sz="1067" b="0" i="0" u="none" strike="noStrike" kern="1200" baseline="0">
                <a:solidFill>
                  <a:schemeClr val="accent3"/>
                </a:solidFill>
                <a:latin typeface="+mn-lt"/>
                <a:ea typeface="+mn-ea"/>
                <a:cs typeface="Arial" panose="020B0604020202020204" pitchFamily="34" charset="0"/>
              </a:rPr>
              <a:t>Intel Confidential — Do Not Forward</a:t>
            </a:r>
          </a:p>
        </p:txBody>
      </p:sp>
      <p:sp>
        <p:nvSpPr>
          <p:cNvPr id="8" name="Freeform 7"/>
          <p:cNvSpPr/>
          <p:nvPr userDrawn="1"/>
        </p:nvSpPr>
        <p:spPr>
          <a:xfrm>
            <a:off x="-9962" y="-14660"/>
            <a:ext cx="12202753" cy="708939"/>
          </a:xfrm>
          <a:custGeom>
            <a:avLst/>
            <a:gdLst>
              <a:gd name="connsiteX0" fmla="*/ 7471 w 9158942"/>
              <a:gd name="connsiteY0" fmla="*/ 0 h 911412"/>
              <a:gd name="connsiteX1" fmla="*/ 0 w 9158942"/>
              <a:gd name="connsiteY1" fmla="*/ 903941 h 911412"/>
              <a:gd name="connsiteX2" fmla="*/ 5393765 w 9158942"/>
              <a:gd name="connsiteY2" fmla="*/ 911412 h 911412"/>
              <a:gd name="connsiteX3" fmla="*/ 5909236 w 9158942"/>
              <a:gd name="connsiteY3" fmla="*/ 597647 h 911412"/>
              <a:gd name="connsiteX4" fmla="*/ 9151471 w 9158942"/>
              <a:gd name="connsiteY4" fmla="*/ 605118 h 911412"/>
              <a:gd name="connsiteX5" fmla="*/ 9158942 w 9158942"/>
              <a:gd name="connsiteY5" fmla="*/ 0 h 911412"/>
              <a:gd name="connsiteX6" fmla="*/ 7471 w 9158942"/>
              <a:gd name="connsiteY6" fmla="*/ 0 h 911412"/>
              <a:gd name="connsiteX0" fmla="*/ 7471 w 9158942"/>
              <a:gd name="connsiteY0" fmla="*/ 0 h 911412"/>
              <a:gd name="connsiteX1" fmla="*/ 0 w 9158942"/>
              <a:gd name="connsiteY1" fmla="*/ 903941 h 911412"/>
              <a:gd name="connsiteX2" fmla="*/ 5393765 w 9158942"/>
              <a:gd name="connsiteY2" fmla="*/ 911412 h 911412"/>
              <a:gd name="connsiteX3" fmla="*/ 5909236 w 9158942"/>
              <a:gd name="connsiteY3" fmla="*/ 597647 h 911412"/>
              <a:gd name="connsiteX4" fmla="*/ 9151471 w 9158942"/>
              <a:gd name="connsiteY4" fmla="*/ 591991 h 911412"/>
              <a:gd name="connsiteX5" fmla="*/ 9158942 w 9158942"/>
              <a:gd name="connsiteY5" fmla="*/ 0 h 911412"/>
              <a:gd name="connsiteX6" fmla="*/ 7471 w 9158942"/>
              <a:gd name="connsiteY6" fmla="*/ 0 h 911412"/>
              <a:gd name="connsiteX0" fmla="*/ 7471 w 9158942"/>
              <a:gd name="connsiteY0" fmla="*/ 0 h 911412"/>
              <a:gd name="connsiteX1" fmla="*/ 0 w 9158942"/>
              <a:gd name="connsiteY1" fmla="*/ 903941 h 911412"/>
              <a:gd name="connsiteX2" fmla="*/ 5393765 w 9158942"/>
              <a:gd name="connsiteY2" fmla="*/ 911412 h 911412"/>
              <a:gd name="connsiteX3" fmla="*/ 5909236 w 9158942"/>
              <a:gd name="connsiteY3" fmla="*/ 597647 h 911412"/>
              <a:gd name="connsiteX4" fmla="*/ 9148189 w 9158942"/>
              <a:gd name="connsiteY4" fmla="*/ 601837 h 911412"/>
              <a:gd name="connsiteX5" fmla="*/ 9158942 w 9158942"/>
              <a:gd name="connsiteY5" fmla="*/ 0 h 911412"/>
              <a:gd name="connsiteX6" fmla="*/ 7471 w 9158942"/>
              <a:gd name="connsiteY6" fmla="*/ 0 h 911412"/>
              <a:gd name="connsiteX0" fmla="*/ 7471 w 9148711"/>
              <a:gd name="connsiteY0" fmla="*/ 0 h 911412"/>
              <a:gd name="connsiteX1" fmla="*/ 0 w 9148711"/>
              <a:gd name="connsiteY1" fmla="*/ 903941 h 911412"/>
              <a:gd name="connsiteX2" fmla="*/ 5393765 w 9148711"/>
              <a:gd name="connsiteY2" fmla="*/ 911412 h 911412"/>
              <a:gd name="connsiteX3" fmla="*/ 5909236 w 9148711"/>
              <a:gd name="connsiteY3" fmla="*/ 597647 h 911412"/>
              <a:gd name="connsiteX4" fmla="*/ 9148189 w 9148711"/>
              <a:gd name="connsiteY4" fmla="*/ 601837 h 911412"/>
              <a:gd name="connsiteX5" fmla="*/ 9145816 w 9148711"/>
              <a:gd name="connsiteY5" fmla="*/ 0 h 911412"/>
              <a:gd name="connsiteX6" fmla="*/ 7471 w 9148711"/>
              <a:gd name="connsiteY6" fmla="*/ 0 h 911412"/>
              <a:gd name="connsiteX0" fmla="*/ 7471 w 9155661"/>
              <a:gd name="connsiteY0" fmla="*/ 0 h 911412"/>
              <a:gd name="connsiteX1" fmla="*/ 0 w 9155661"/>
              <a:gd name="connsiteY1" fmla="*/ 903941 h 911412"/>
              <a:gd name="connsiteX2" fmla="*/ 5393765 w 9155661"/>
              <a:gd name="connsiteY2" fmla="*/ 911412 h 911412"/>
              <a:gd name="connsiteX3" fmla="*/ 5909236 w 9155661"/>
              <a:gd name="connsiteY3" fmla="*/ 597647 h 911412"/>
              <a:gd name="connsiteX4" fmla="*/ 9148189 w 9155661"/>
              <a:gd name="connsiteY4" fmla="*/ 601837 h 911412"/>
              <a:gd name="connsiteX5" fmla="*/ 9155661 w 9155661"/>
              <a:gd name="connsiteY5" fmla="*/ 0 h 911412"/>
              <a:gd name="connsiteX6" fmla="*/ 7471 w 9155661"/>
              <a:gd name="connsiteY6" fmla="*/ 0 h 911412"/>
              <a:gd name="connsiteX0" fmla="*/ 7471 w 9158556"/>
              <a:gd name="connsiteY0" fmla="*/ 0 h 911412"/>
              <a:gd name="connsiteX1" fmla="*/ 0 w 9158556"/>
              <a:gd name="connsiteY1" fmla="*/ 903941 h 911412"/>
              <a:gd name="connsiteX2" fmla="*/ 5393765 w 9158556"/>
              <a:gd name="connsiteY2" fmla="*/ 911412 h 911412"/>
              <a:gd name="connsiteX3" fmla="*/ 5909236 w 9158556"/>
              <a:gd name="connsiteY3" fmla="*/ 597647 h 911412"/>
              <a:gd name="connsiteX4" fmla="*/ 9158034 w 9158556"/>
              <a:gd name="connsiteY4" fmla="*/ 598555 h 911412"/>
              <a:gd name="connsiteX5" fmla="*/ 9155661 w 9158556"/>
              <a:gd name="connsiteY5" fmla="*/ 0 h 911412"/>
              <a:gd name="connsiteX6" fmla="*/ 7471 w 9158556"/>
              <a:gd name="connsiteY6" fmla="*/ 0 h 911412"/>
              <a:gd name="connsiteX0" fmla="*/ 7471 w 9155661"/>
              <a:gd name="connsiteY0" fmla="*/ 0 h 911412"/>
              <a:gd name="connsiteX1" fmla="*/ 0 w 9155661"/>
              <a:gd name="connsiteY1" fmla="*/ 903941 h 911412"/>
              <a:gd name="connsiteX2" fmla="*/ 5393765 w 9155661"/>
              <a:gd name="connsiteY2" fmla="*/ 911412 h 911412"/>
              <a:gd name="connsiteX3" fmla="*/ 5909236 w 9155661"/>
              <a:gd name="connsiteY3" fmla="*/ 597647 h 911412"/>
              <a:gd name="connsiteX4" fmla="*/ 9151470 w 9155661"/>
              <a:gd name="connsiteY4" fmla="*/ 595274 h 911412"/>
              <a:gd name="connsiteX5" fmla="*/ 9155661 w 9155661"/>
              <a:gd name="connsiteY5" fmla="*/ 0 h 911412"/>
              <a:gd name="connsiteX6" fmla="*/ 7471 w 9155661"/>
              <a:gd name="connsiteY6" fmla="*/ 0 h 911412"/>
              <a:gd name="connsiteX0" fmla="*/ 522 w 9158557"/>
              <a:gd name="connsiteY0" fmla="*/ 0 h 911412"/>
              <a:gd name="connsiteX1" fmla="*/ 2896 w 9158557"/>
              <a:gd name="connsiteY1" fmla="*/ 903941 h 911412"/>
              <a:gd name="connsiteX2" fmla="*/ 5396661 w 9158557"/>
              <a:gd name="connsiteY2" fmla="*/ 911412 h 911412"/>
              <a:gd name="connsiteX3" fmla="*/ 5912132 w 9158557"/>
              <a:gd name="connsiteY3" fmla="*/ 597647 h 911412"/>
              <a:gd name="connsiteX4" fmla="*/ 9154366 w 9158557"/>
              <a:gd name="connsiteY4" fmla="*/ 595274 h 911412"/>
              <a:gd name="connsiteX5" fmla="*/ 9158557 w 9158557"/>
              <a:gd name="connsiteY5" fmla="*/ 0 h 911412"/>
              <a:gd name="connsiteX6" fmla="*/ 522 w 9158557"/>
              <a:gd name="connsiteY6" fmla="*/ 0 h 911412"/>
              <a:gd name="connsiteX0" fmla="*/ 522 w 9158557"/>
              <a:gd name="connsiteY0" fmla="*/ 0 h 917068"/>
              <a:gd name="connsiteX1" fmla="*/ 2896 w 9158557"/>
              <a:gd name="connsiteY1" fmla="*/ 917068 h 917068"/>
              <a:gd name="connsiteX2" fmla="*/ 5396661 w 9158557"/>
              <a:gd name="connsiteY2" fmla="*/ 911412 h 917068"/>
              <a:gd name="connsiteX3" fmla="*/ 5912132 w 9158557"/>
              <a:gd name="connsiteY3" fmla="*/ 597647 h 917068"/>
              <a:gd name="connsiteX4" fmla="*/ 9154366 w 9158557"/>
              <a:gd name="connsiteY4" fmla="*/ 595274 h 917068"/>
              <a:gd name="connsiteX5" fmla="*/ 9158557 w 9158557"/>
              <a:gd name="connsiteY5" fmla="*/ 0 h 917068"/>
              <a:gd name="connsiteX6" fmla="*/ 522 w 9158557"/>
              <a:gd name="connsiteY6" fmla="*/ 0 h 917068"/>
              <a:gd name="connsiteX0" fmla="*/ 522 w 9158557"/>
              <a:gd name="connsiteY0" fmla="*/ 0 h 911412"/>
              <a:gd name="connsiteX1" fmla="*/ 2896 w 9158557"/>
              <a:gd name="connsiteY1" fmla="*/ 910555 h 911412"/>
              <a:gd name="connsiteX2" fmla="*/ 5396661 w 9158557"/>
              <a:gd name="connsiteY2" fmla="*/ 911412 h 911412"/>
              <a:gd name="connsiteX3" fmla="*/ 5912132 w 9158557"/>
              <a:gd name="connsiteY3" fmla="*/ 597647 h 911412"/>
              <a:gd name="connsiteX4" fmla="*/ 9154366 w 9158557"/>
              <a:gd name="connsiteY4" fmla="*/ 595274 h 911412"/>
              <a:gd name="connsiteX5" fmla="*/ 9158557 w 9158557"/>
              <a:gd name="connsiteY5" fmla="*/ 0 h 911412"/>
              <a:gd name="connsiteX6" fmla="*/ 522 w 9158557"/>
              <a:gd name="connsiteY6" fmla="*/ 0 h 911412"/>
              <a:gd name="connsiteX0" fmla="*/ 80091 w 9155661"/>
              <a:gd name="connsiteY0" fmla="*/ 241917 h 911412"/>
              <a:gd name="connsiteX1" fmla="*/ 0 w 9155661"/>
              <a:gd name="connsiteY1" fmla="*/ 910555 h 911412"/>
              <a:gd name="connsiteX2" fmla="*/ 5393765 w 9155661"/>
              <a:gd name="connsiteY2" fmla="*/ 911412 h 911412"/>
              <a:gd name="connsiteX3" fmla="*/ 5909236 w 9155661"/>
              <a:gd name="connsiteY3" fmla="*/ 597647 h 911412"/>
              <a:gd name="connsiteX4" fmla="*/ 9151470 w 9155661"/>
              <a:gd name="connsiteY4" fmla="*/ 595274 h 911412"/>
              <a:gd name="connsiteX5" fmla="*/ 9155661 w 9155661"/>
              <a:gd name="connsiteY5" fmla="*/ 0 h 911412"/>
              <a:gd name="connsiteX6" fmla="*/ 80091 w 9155661"/>
              <a:gd name="connsiteY6" fmla="*/ 241917 h 911412"/>
              <a:gd name="connsiteX0" fmla="*/ 3124 w 9155661"/>
              <a:gd name="connsiteY0" fmla="*/ 175940 h 911412"/>
              <a:gd name="connsiteX1" fmla="*/ 0 w 9155661"/>
              <a:gd name="connsiteY1" fmla="*/ 910555 h 911412"/>
              <a:gd name="connsiteX2" fmla="*/ 5393765 w 9155661"/>
              <a:gd name="connsiteY2" fmla="*/ 911412 h 911412"/>
              <a:gd name="connsiteX3" fmla="*/ 5909236 w 9155661"/>
              <a:gd name="connsiteY3" fmla="*/ 597647 h 911412"/>
              <a:gd name="connsiteX4" fmla="*/ 9151470 w 9155661"/>
              <a:gd name="connsiteY4" fmla="*/ 595274 h 911412"/>
              <a:gd name="connsiteX5" fmla="*/ 9155661 w 9155661"/>
              <a:gd name="connsiteY5" fmla="*/ 0 h 911412"/>
              <a:gd name="connsiteX6" fmla="*/ 3124 w 9155661"/>
              <a:gd name="connsiteY6" fmla="*/ 175940 h 911412"/>
              <a:gd name="connsiteX0" fmla="*/ 3124 w 9155661"/>
              <a:gd name="connsiteY0" fmla="*/ 146617 h 911412"/>
              <a:gd name="connsiteX1" fmla="*/ 0 w 9155661"/>
              <a:gd name="connsiteY1" fmla="*/ 910555 h 911412"/>
              <a:gd name="connsiteX2" fmla="*/ 5393765 w 9155661"/>
              <a:gd name="connsiteY2" fmla="*/ 911412 h 911412"/>
              <a:gd name="connsiteX3" fmla="*/ 5909236 w 9155661"/>
              <a:gd name="connsiteY3" fmla="*/ 597647 h 911412"/>
              <a:gd name="connsiteX4" fmla="*/ 9151470 w 9155661"/>
              <a:gd name="connsiteY4" fmla="*/ 595274 h 911412"/>
              <a:gd name="connsiteX5" fmla="*/ 9155661 w 9155661"/>
              <a:gd name="connsiteY5" fmla="*/ 0 h 911412"/>
              <a:gd name="connsiteX6" fmla="*/ 3124 w 9155661"/>
              <a:gd name="connsiteY6" fmla="*/ 146617 h 911412"/>
              <a:gd name="connsiteX0" fmla="*/ 3124 w 9151521"/>
              <a:gd name="connsiteY0" fmla="*/ 0 h 764795"/>
              <a:gd name="connsiteX1" fmla="*/ 0 w 9151521"/>
              <a:gd name="connsiteY1" fmla="*/ 763938 h 764795"/>
              <a:gd name="connsiteX2" fmla="*/ 5393765 w 9151521"/>
              <a:gd name="connsiteY2" fmla="*/ 764795 h 764795"/>
              <a:gd name="connsiteX3" fmla="*/ 5909236 w 9151521"/>
              <a:gd name="connsiteY3" fmla="*/ 451030 h 764795"/>
              <a:gd name="connsiteX4" fmla="*/ 9151470 w 9151521"/>
              <a:gd name="connsiteY4" fmla="*/ 448657 h 764795"/>
              <a:gd name="connsiteX5" fmla="*/ 9067698 w 9151521"/>
              <a:gd name="connsiteY5" fmla="*/ 21992 h 764795"/>
              <a:gd name="connsiteX6" fmla="*/ 3124 w 9151521"/>
              <a:gd name="connsiteY6" fmla="*/ 0 h 764795"/>
              <a:gd name="connsiteX0" fmla="*/ 3124 w 9152065"/>
              <a:gd name="connsiteY0" fmla="*/ 0 h 764795"/>
              <a:gd name="connsiteX1" fmla="*/ 0 w 9152065"/>
              <a:gd name="connsiteY1" fmla="*/ 763938 h 764795"/>
              <a:gd name="connsiteX2" fmla="*/ 5393765 w 9152065"/>
              <a:gd name="connsiteY2" fmla="*/ 764795 h 764795"/>
              <a:gd name="connsiteX3" fmla="*/ 5909236 w 9152065"/>
              <a:gd name="connsiteY3" fmla="*/ 451030 h 764795"/>
              <a:gd name="connsiteX4" fmla="*/ 9151470 w 9152065"/>
              <a:gd name="connsiteY4" fmla="*/ 448657 h 764795"/>
              <a:gd name="connsiteX5" fmla="*/ 9150163 w 9152065"/>
              <a:gd name="connsiteY5" fmla="*/ 14661 h 764795"/>
              <a:gd name="connsiteX6" fmla="*/ 3124 w 9152065"/>
              <a:gd name="connsiteY6" fmla="*/ 0 h 764795"/>
              <a:gd name="connsiteX0" fmla="*/ 3124 w 9152065"/>
              <a:gd name="connsiteY0" fmla="*/ 0 h 764795"/>
              <a:gd name="connsiteX1" fmla="*/ 0 w 9152065"/>
              <a:gd name="connsiteY1" fmla="*/ 697960 h 764795"/>
              <a:gd name="connsiteX2" fmla="*/ 5393765 w 9152065"/>
              <a:gd name="connsiteY2" fmla="*/ 764795 h 764795"/>
              <a:gd name="connsiteX3" fmla="*/ 5909236 w 9152065"/>
              <a:gd name="connsiteY3" fmla="*/ 451030 h 764795"/>
              <a:gd name="connsiteX4" fmla="*/ 9151470 w 9152065"/>
              <a:gd name="connsiteY4" fmla="*/ 448657 h 764795"/>
              <a:gd name="connsiteX5" fmla="*/ 9150163 w 9152065"/>
              <a:gd name="connsiteY5" fmla="*/ 14661 h 764795"/>
              <a:gd name="connsiteX6" fmla="*/ 3124 w 9152065"/>
              <a:gd name="connsiteY6" fmla="*/ 0 h 764795"/>
              <a:gd name="connsiteX0" fmla="*/ 3124 w 9152065"/>
              <a:gd name="connsiteY0" fmla="*/ 0 h 706148"/>
              <a:gd name="connsiteX1" fmla="*/ 0 w 9152065"/>
              <a:gd name="connsiteY1" fmla="*/ 697960 h 706148"/>
              <a:gd name="connsiteX2" fmla="*/ 5476230 w 9152065"/>
              <a:gd name="connsiteY2" fmla="*/ 706148 h 706148"/>
              <a:gd name="connsiteX3" fmla="*/ 5909236 w 9152065"/>
              <a:gd name="connsiteY3" fmla="*/ 451030 h 706148"/>
              <a:gd name="connsiteX4" fmla="*/ 9151470 w 9152065"/>
              <a:gd name="connsiteY4" fmla="*/ 448657 h 706148"/>
              <a:gd name="connsiteX5" fmla="*/ 9150163 w 9152065"/>
              <a:gd name="connsiteY5" fmla="*/ 14661 h 706148"/>
              <a:gd name="connsiteX6" fmla="*/ 3124 w 9152065"/>
              <a:gd name="connsiteY6" fmla="*/ 0 h 706148"/>
              <a:gd name="connsiteX0" fmla="*/ 3124 w 9152065"/>
              <a:gd name="connsiteY0" fmla="*/ 7331 h 713479"/>
              <a:gd name="connsiteX1" fmla="*/ 0 w 9152065"/>
              <a:gd name="connsiteY1" fmla="*/ 705291 h 713479"/>
              <a:gd name="connsiteX2" fmla="*/ 5476230 w 9152065"/>
              <a:gd name="connsiteY2" fmla="*/ 713479 h 713479"/>
              <a:gd name="connsiteX3" fmla="*/ 5909236 w 9152065"/>
              <a:gd name="connsiteY3" fmla="*/ 458361 h 713479"/>
              <a:gd name="connsiteX4" fmla="*/ 9151470 w 9152065"/>
              <a:gd name="connsiteY4" fmla="*/ 455988 h 713479"/>
              <a:gd name="connsiteX5" fmla="*/ 9150163 w 9152065"/>
              <a:gd name="connsiteY5" fmla="*/ 0 h 713479"/>
              <a:gd name="connsiteX6" fmla="*/ 3124 w 9152065"/>
              <a:gd name="connsiteY6" fmla="*/ 7331 h 713479"/>
              <a:gd name="connsiteX0" fmla="*/ 3124 w 9152065"/>
              <a:gd name="connsiteY0" fmla="*/ 7331 h 705291"/>
              <a:gd name="connsiteX1" fmla="*/ 0 w 9152065"/>
              <a:gd name="connsiteY1" fmla="*/ 705291 h 705291"/>
              <a:gd name="connsiteX2" fmla="*/ 5487226 w 9152065"/>
              <a:gd name="connsiteY2" fmla="*/ 691487 h 705291"/>
              <a:gd name="connsiteX3" fmla="*/ 5909236 w 9152065"/>
              <a:gd name="connsiteY3" fmla="*/ 458361 h 705291"/>
              <a:gd name="connsiteX4" fmla="*/ 9151470 w 9152065"/>
              <a:gd name="connsiteY4" fmla="*/ 455988 h 705291"/>
              <a:gd name="connsiteX5" fmla="*/ 9150163 w 9152065"/>
              <a:gd name="connsiteY5" fmla="*/ 0 h 705291"/>
              <a:gd name="connsiteX6" fmla="*/ 3124 w 9152065"/>
              <a:gd name="connsiteY6" fmla="*/ 7331 h 705291"/>
              <a:gd name="connsiteX0" fmla="*/ 3124 w 9152065"/>
              <a:gd name="connsiteY0" fmla="*/ 7331 h 713479"/>
              <a:gd name="connsiteX1" fmla="*/ 0 w 9152065"/>
              <a:gd name="connsiteY1" fmla="*/ 705291 h 713479"/>
              <a:gd name="connsiteX2" fmla="*/ 5470733 w 9152065"/>
              <a:gd name="connsiteY2" fmla="*/ 713479 h 713479"/>
              <a:gd name="connsiteX3" fmla="*/ 5909236 w 9152065"/>
              <a:gd name="connsiteY3" fmla="*/ 458361 h 713479"/>
              <a:gd name="connsiteX4" fmla="*/ 9151470 w 9152065"/>
              <a:gd name="connsiteY4" fmla="*/ 455988 h 713479"/>
              <a:gd name="connsiteX5" fmla="*/ 9150163 w 9152065"/>
              <a:gd name="connsiteY5" fmla="*/ 0 h 713479"/>
              <a:gd name="connsiteX6" fmla="*/ 3124 w 9152065"/>
              <a:gd name="connsiteY6" fmla="*/ 7331 h 713479"/>
              <a:gd name="connsiteX0" fmla="*/ 3124 w 9152065"/>
              <a:gd name="connsiteY0" fmla="*/ 7331 h 705291"/>
              <a:gd name="connsiteX1" fmla="*/ 0 w 9152065"/>
              <a:gd name="connsiteY1" fmla="*/ 705291 h 705291"/>
              <a:gd name="connsiteX2" fmla="*/ 5470733 w 9152065"/>
              <a:gd name="connsiteY2" fmla="*/ 695319 h 705291"/>
              <a:gd name="connsiteX3" fmla="*/ 5909236 w 9152065"/>
              <a:gd name="connsiteY3" fmla="*/ 458361 h 705291"/>
              <a:gd name="connsiteX4" fmla="*/ 9151470 w 9152065"/>
              <a:gd name="connsiteY4" fmla="*/ 455988 h 705291"/>
              <a:gd name="connsiteX5" fmla="*/ 9150163 w 9152065"/>
              <a:gd name="connsiteY5" fmla="*/ 0 h 705291"/>
              <a:gd name="connsiteX6" fmla="*/ 3124 w 9152065"/>
              <a:gd name="connsiteY6" fmla="*/ 7331 h 705291"/>
              <a:gd name="connsiteX0" fmla="*/ 3124 w 9152065"/>
              <a:gd name="connsiteY0" fmla="*/ 7331 h 708939"/>
              <a:gd name="connsiteX1" fmla="*/ 0 w 9152065"/>
              <a:gd name="connsiteY1" fmla="*/ 705291 h 708939"/>
              <a:gd name="connsiteX2" fmla="*/ 5467329 w 9152065"/>
              <a:gd name="connsiteY2" fmla="*/ 708939 h 708939"/>
              <a:gd name="connsiteX3" fmla="*/ 5909236 w 9152065"/>
              <a:gd name="connsiteY3" fmla="*/ 458361 h 708939"/>
              <a:gd name="connsiteX4" fmla="*/ 9151470 w 9152065"/>
              <a:gd name="connsiteY4" fmla="*/ 455988 h 708939"/>
              <a:gd name="connsiteX5" fmla="*/ 9150163 w 9152065"/>
              <a:gd name="connsiteY5" fmla="*/ 0 h 708939"/>
              <a:gd name="connsiteX6" fmla="*/ 3124 w 9152065"/>
              <a:gd name="connsiteY6" fmla="*/ 7331 h 708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52065" h="708939">
                <a:moveTo>
                  <a:pt x="3124" y="7331"/>
                </a:moveTo>
                <a:cubicBezTo>
                  <a:pt x="634" y="308645"/>
                  <a:pt x="2490" y="403977"/>
                  <a:pt x="0" y="705291"/>
                </a:cubicBezTo>
                <a:lnTo>
                  <a:pt x="5467329" y="708939"/>
                </a:lnTo>
                <a:lnTo>
                  <a:pt x="5909236" y="458361"/>
                </a:lnTo>
                <a:lnTo>
                  <a:pt x="9151470" y="455988"/>
                </a:lnTo>
                <a:cubicBezTo>
                  <a:pt x="9153960" y="254282"/>
                  <a:pt x="9147673" y="201706"/>
                  <a:pt x="9150163" y="0"/>
                </a:cubicBezTo>
                <a:lnTo>
                  <a:pt x="3124" y="73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9" name="Picture 2" descr="\\.psf\Home\Desktop\Intel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572" y="1631548"/>
            <a:ext cx="1627841" cy="1072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39837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Attribu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7485" y="1604434"/>
            <a:ext cx="10970684" cy="4567767"/>
          </a:xfrm>
        </p:spPr>
        <p:txBody>
          <a:bodyPr anchor="ctr" anchorCtr="0"/>
          <a:lstStyle>
            <a:lvl1pPr marL="253994" indent="-253994">
              <a:defRPr sz="4800" b="1" baseline="0">
                <a:solidFill>
                  <a:schemeClr val="accent2"/>
                </a:solidFill>
                <a:latin typeface="+mn-lt"/>
                <a:cs typeface="Intel Clear Light" panose="020B0404020203020204" pitchFamily="34" charset="0"/>
              </a:defRPr>
            </a:lvl1pPr>
            <a:lvl2pPr marL="556670" indent="-300559">
              <a:buFont typeface="Lucida Grande"/>
              <a:buChar char="−"/>
              <a:defRPr sz="1600" baseline="0">
                <a:latin typeface="+mn-lt"/>
                <a:cs typeface="Intel Clear" panose="020B0604020203020204" pitchFamily="34" charset="0"/>
              </a:defRPr>
            </a:lvl2pPr>
            <a:lvl3pPr marL="914377" indent="-304792">
              <a:defRPr sz="1600">
                <a:latin typeface="+mn-lt"/>
              </a:defRPr>
            </a:lvl3pPr>
            <a:lvl4pPr>
              <a:defRPr sz="1467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“36pt Intel Clear Bold Text”</a:t>
            </a:r>
          </a:p>
          <a:p>
            <a:pPr lvl="1"/>
            <a:r>
              <a:rPr lang="en-US" err="1"/>
              <a:t>12pt</a:t>
            </a:r>
            <a:r>
              <a:rPr lang="en-US"/>
              <a:t> Attribution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63136" y="6432516"/>
            <a:ext cx="2844800" cy="365125"/>
          </a:xfrm>
          <a:prstGeom prst="rect">
            <a:avLst/>
          </a:prstGeom>
        </p:spPr>
        <p:txBody>
          <a:bodyPr/>
          <a:lstStyle/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07484" y="411797"/>
            <a:ext cx="10972800" cy="1158240"/>
          </a:xfrm>
        </p:spPr>
        <p:txBody>
          <a:bodyPr/>
          <a:lstStyle>
            <a:lvl1pPr>
              <a:defRPr b="0" i="0" baseline="0">
                <a:solidFill>
                  <a:srgbClr val="003C71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</p:spTree>
    <p:extLst>
      <p:ext uri="{BB962C8B-B14F-4D97-AF65-F5344CB8AC3E}">
        <p14:creationId xmlns:p14="http://schemas.microsoft.com/office/powerpoint/2010/main" val="7097230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358467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aseline="0"/>
            </a:lvl1pPr>
          </a:lstStyle>
          <a:p>
            <a:r>
              <a:rPr lang="en-US"/>
              <a:t>Insert photo here. Drag picture to placeholder or click icon to ad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63136" y="6432516"/>
            <a:ext cx="2844800" cy="365125"/>
          </a:xfrm>
          <a:prstGeom prst="rect">
            <a:avLst/>
          </a:prstGeom>
        </p:spPr>
        <p:txBody>
          <a:bodyPr/>
          <a:lstStyle/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07484" y="411797"/>
            <a:ext cx="10972800" cy="1158240"/>
          </a:xfrm>
        </p:spPr>
        <p:txBody>
          <a:bodyPr/>
          <a:lstStyle>
            <a:lvl1pPr>
              <a:defRPr b="0" i="0" baseline="0">
                <a:solidFill>
                  <a:srgbClr val="003C71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</p:spTree>
    <p:extLst>
      <p:ext uri="{BB962C8B-B14F-4D97-AF65-F5344CB8AC3E}">
        <p14:creationId xmlns:p14="http://schemas.microsoft.com/office/powerpoint/2010/main" val="13988276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ottom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3432175"/>
            <a:ext cx="12192000" cy="2926292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aseline="0"/>
            </a:lvl1pPr>
          </a:lstStyle>
          <a:p>
            <a:r>
              <a:rPr lang="en-US"/>
              <a:t>Insert photo here. Drag picture to placeholder or click icon to ad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63136" y="6432516"/>
            <a:ext cx="2844800" cy="365125"/>
          </a:xfrm>
          <a:prstGeom prst="rect">
            <a:avLst/>
          </a:prstGeom>
        </p:spPr>
        <p:txBody>
          <a:bodyPr/>
          <a:lstStyle/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7485" y="1604433"/>
            <a:ext cx="5342468" cy="174572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sz="1867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</a:t>
            </a:r>
            <a:r>
              <a:rPr lang="en-US"/>
              <a:t> Intel Clear third level</a:t>
            </a:r>
          </a:p>
          <a:p>
            <a:pPr lvl="3"/>
            <a:r>
              <a:rPr lang="en-US" err="1"/>
              <a:t>12pt</a:t>
            </a:r>
            <a:r>
              <a:rPr lang="en-US"/>
              <a:t> Intel Clear fourth level</a:t>
            </a:r>
          </a:p>
          <a:p>
            <a:pPr lvl="4"/>
            <a:r>
              <a:rPr lang="en-US" err="1"/>
              <a:t>12pt</a:t>
            </a:r>
            <a:r>
              <a:rPr lang="en-US"/>
              <a:t> Intel Clear 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half" idx="15" hasCustomPrompt="1"/>
          </p:nvPr>
        </p:nvSpPr>
        <p:spPr>
          <a:xfrm>
            <a:off x="6237817" y="1604433"/>
            <a:ext cx="5340352" cy="174572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sz="1867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</a:t>
            </a:r>
            <a:r>
              <a:rPr lang="en-US"/>
              <a:t> Intel Clear third level</a:t>
            </a:r>
          </a:p>
          <a:p>
            <a:pPr lvl="3"/>
            <a:r>
              <a:rPr lang="en-US" err="1"/>
              <a:t>12pt</a:t>
            </a:r>
            <a:r>
              <a:rPr lang="en-US"/>
              <a:t> Intel Clear fourth level</a:t>
            </a:r>
          </a:p>
          <a:p>
            <a:pPr lvl="4"/>
            <a:r>
              <a:rPr lang="en-US" err="1"/>
              <a:t>12pt</a:t>
            </a:r>
            <a:r>
              <a:rPr lang="en-US"/>
              <a:t> Intel Clear 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345983" y="6634394"/>
            <a:ext cx="184731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/>
            <a:endParaRPr lang="en-US" sz="1333">
              <a:solidFill>
                <a:srgbClr val="003C71"/>
              </a:solidFill>
              <a:cs typeface="Neo Sans Intel"/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607484" y="411797"/>
            <a:ext cx="10972800" cy="1158240"/>
          </a:xfrm>
        </p:spPr>
        <p:txBody>
          <a:bodyPr/>
          <a:lstStyle>
            <a:lvl1pPr>
              <a:defRPr b="0" i="0" baseline="0">
                <a:solidFill>
                  <a:srgbClr val="003C71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</p:spTree>
    <p:extLst>
      <p:ext uri="{BB962C8B-B14F-4D97-AF65-F5344CB8AC3E}">
        <p14:creationId xmlns:p14="http://schemas.microsoft.com/office/powerpoint/2010/main" val="15862007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237818" y="2"/>
            <a:ext cx="5954183" cy="6358465"/>
          </a:xfrm>
          <a:solidFill>
            <a:schemeClr val="bg2">
              <a:lumMod val="60000"/>
              <a:lumOff val="40000"/>
            </a:schemeClr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photo here. Drag picture to placeholder or click icon to ad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7484" y="411797"/>
            <a:ext cx="5342467" cy="1158240"/>
          </a:xfrm>
        </p:spPr>
        <p:txBody>
          <a:bodyPr>
            <a:noAutofit/>
          </a:bodyPr>
          <a:lstStyle>
            <a:lvl1pPr>
              <a:defRPr sz="3733" b="0" i="0" baseline="0"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63136" y="6432516"/>
            <a:ext cx="2844800" cy="365125"/>
          </a:xfrm>
          <a:prstGeom prst="rect">
            <a:avLst/>
          </a:prstGeom>
        </p:spPr>
        <p:txBody>
          <a:bodyPr/>
          <a:lstStyle/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7485" y="1766992"/>
            <a:ext cx="5342467" cy="456776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sz="1867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</a:t>
            </a:r>
            <a:r>
              <a:rPr lang="en-US"/>
              <a:t> Intel Clear third level</a:t>
            </a:r>
          </a:p>
          <a:p>
            <a:pPr lvl="3"/>
            <a:r>
              <a:rPr lang="en-US" err="1"/>
              <a:t>12pt</a:t>
            </a:r>
            <a:r>
              <a:rPr lang="en-US"/>
              <a:t> Intel Clear fourth level</a:t>
            </a:r>
          </a:p>
          <a:p>
            <a:pPr lvl="4"/>
            <a:r>
              <a:rPr lang="en-US" err="1"/>
              <a:t>12pt</a:t>
            </a:r>
            <a:r>
              <a:rPr lang="en-US"/>
              <a:t> Intel Clear fifth level</a:t>
            </a:r>
          </a:p>
        </p:txBody>
      </p:sp>
    </p:spTree>
    <p:extLst>
      <p:ext uri="{BB962C8B-B14F-4D97-AF65-F5344CB8AC3E}">
        <p14:creationId xmlns:p14="http://schemas.microsoft.com/office/powerpoint/2010/main" val="34679893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 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7484" y="2810749"/>
            <a:ext cx="10363200" cy="1362075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7200" b="0" cap="none" spc="0" baseline="0">
                <a:solidFill>
                  <a:srgbClr val="003C71"/>
                </a:solidFill>
                <a:latin typeface="Intel Clear Pro" panose="020B0804020202060201" pitchFamily="34" charset="0"/>
                <a:cs typeface="Intel Clear Pro" panose="020B0804020202060201" pitchFamily="34" charset="0"/>
              </a:defRPr>
            </a:lvl1pPr>
          </a:lstStyle>
          <a:p>
            <a:r>
              <a:rPr lang="en-US"/>
              <a:t>54pt Intel Clear Pro</a:t>
            </a:r>
            <a:br>
              <a:rPr lang="en-US"/>
            </a:br>
            <a:r>
              <a:rPr lang="en-US"/>
              <a:t>white section break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7484" y="4321533"/>
            <a:ext cx="10363200" cy="1500187"/>
          </a:xfrm>
        </p:spPr>
        <p:txBody>
          <a:bodyPr anchor="t" anchorCtr="0">
            <a:noAutofit/>
          </a:bodyPr>
          <a:lstStyle>
            <a:lvl1pPr marL="0" indent="0">
              <a:buNone/>
              <a:defRPr sz="2133" b="0" baseline="0">
                <a:solidFill>
                  <a:schemeClr val="accent2"/>
                </a:solidFill>
                <a:latin typeface="+mn-lt"/>
                <a:cs typeface="Intel Clear" panose="020B060402020302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16pt Intel Clear Subhea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63136" y="6432516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84982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7484" y="2979843"/>
            <a:ext cx="10363200" cy="1500187"/>
          </a:xfrm>
        </p:spPr>
        <p:txBody>
          <a:bodyPr anchor="t" anchorCtr="0">
            <a:noAutofit/>
          </a:bodyPr>
          <a:lstStyle>
            <a:lvl1pPr marL="0" indent="0">
              <a:buNone/>
              <a:defRPr sz="5333" b="0" baseline="0">
                <a:solidFill>
                  <a:schemeClr val="accent2"/>
                </a:solidFill>
                <a:latin typeface="Intel Clear Light" panose="020B0404020203020204" pitchFamily="34" charset="0"/>
                <a:ea typeface="Intel Clear Light" panose="020B0404020203020204" pitchFamily="34" charset="0"/>
                <a:cs typeface="Intel Clear Light" panose="020B040402020302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40pt Intel Clear Light Body.</a:t>
            </a:r>
            <a:br>
              <a:rPr lang="en-US"/>
            </a:br>
            <a:r>
              <a:rPr lang="en-US"/>
              <a:t>For content that is not a section, but has a big idea in text only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63136" y="6432516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07484" y="1469059"/>
            <a:ext cx="10363200" cy="1362075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5333" b="0" cap="none" spc="0" baseline="0">
                <a:solidFill>
                  <a:srgbClr val="003C71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40pt Intel Clear Heading</a:t>
            </a:r>
          </a:p>
        </p:txBody>
      </p:sp>
    </p:spTree>
    <p:extLst>
      <p:ext uri="{BB962C8B-B14F-4D97-AF65-F5344CB8AC3E}">
        <p14:creationId xmlns:p14="http://schemas.microsoft.com/office/powerpoint/2010/main" val="27247556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163136" y="6432516"/>
            <a:ext cx="2844800" cy="365125"/>
          </a:xfrm>
          <a:prstGeom prst="rect">
            <a:avLst/>
          </a:prstGeom>
        </p:spPr>
        <p:txBody>
          <a:bodyPr/>
          <a:lstStyle/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6"/>
          <p:cNvSpPr>
            <a:spLocks noGrp="1"/>
          </p:cNvSpPr>
          <p:nvPr>
            <p:ph type="title" hasCustomPrompt="1"/>
          </p:nvPr>
        </p:nvSpPr>
        <p:spPr>
          <a:xfrm>
            <a:off x="607484" y="411797"/>
            <a:ext cx="10972800" cy="1158240"/>
          </a:xfrm>
        </p:spPr>
        <p:txBody>
          <a:bodyPr/>
          <a:lstStyle>
            <a:lvl1pPr>
              <a:defRPr b="0" i="0" baseline="0">
                <a:solidFill>
                  <a:srgbClr val="003C71"/>
                </a:solidFill>
                <a:latin typeface="Intel Clear"/>
                <a:cs typeface="Intel Clear"/>
              </a:defRPr>
            </a:lvl1pPr>
          </a:lstStyle>
          <a:p>
            <a:r>
              <a:rPr lang="en-US"/>
              <a:t>28pt Intel Clear Headline</a:t>
            </a:r>
          </a:p>
        </p:txBody>
      </p:sp>
    </p:spTree>
    <p:extLst>
      <p:ext uri="{BB962C8B-B14F-4D97-AF65-F5344CB8AC3E}">
        <p14:creationId xmlns:p14="http://schemas.microsoft.com/office/powerpoint/2010/main" val="7043979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163136" y="6432516"/>
            <a:ext cx="2844800" cy="365125"/>
          </a:xfrm>
          <a:prstGeom prst="rect">
            <a:avLst/>
          </a:prstGeom>
        </p:spPr>
        <p:txBody>
          <a:bodyPr/>
          <a:lstStyle/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04622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err="1"/>
              <a:t>28pt</a:t>
            </a:r>
            <a:r>
              <a:rPr lang="en-US"/>
              <a:t> Intel Clear Light Headlin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607484" y="1604434"/>
            <a:ext cx="10970683" cy="4567767"/>
          </a:xfrm>
        </p:spPr>
        <p:txBody>
          <a:bodyPr/>
          <a:lstStyle/>
          <a:p>
            <a:pPr lvl="0"/>
            <a:r>
              <a:rPr lang="en-US"/>
              <a:t>18pt Intel Clear body text</a:t>
            </a:r>
          </a:p>
          <a:p>
            <a:pPr lvl="1"/>
            <a:r>
              <a:rPr lang="en-US"/>
              <a:t>16pt Intel Clear bullet one</a:t>
            </a:r>
          </a:p>
          <a:p>
            <a:pPr lvl="2"/>
            <a:r>
              <a:rPr lang="en-US"/>
              <a:t>16pt Intel Clear sub-bullet</a:t>
            </a:r>
          </a:p>
          <a:p>
            <a:pPr lvl="3"/>
            <a:r>
              <a:rPr lang="en-US" err="1"/>
              <a:t>14pt</a:t>
            </a:r>
            <a:r>
              <a:rPr lang="en-US"/>
              <a:t> Intel Clear fourth level</a:t>
            </a:r>
          </a:p>
          <a:p>
            <a:pPr lvl="4"/>
            <a:r>
              <a:rPr lang="en-US" err="1"/>
              <a:t>14pt</a:t>
            </a:r>
            <a:r>
              <a:rPr lang="en-US"/>
              <a:t> Intel Clear 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63136" y="6432516"/>
            <a:ext cx="284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67">
                <a:solidFill>
                  <a:schemeClr val="bg1"/>
                </a:solidFill>
                <a:latin typeface="+mn-lt"/>
                <a:cs typeface="Intel Clear Light" panose="020B0404020203020204" pitchFamily="34" charset="0"/>
              </a:defRPr>
            </a:lvl1pPr>
          </a:lstStyle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7952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71951" y="5779774"/>
            <a:ext cx="11248101" cy="123175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75000"/>
              </a:lnSpc>
              <a:spcBef>
                <a:spcPts val="0"/>
              </a:spcBef>
              <a:buFont typeface="Arial" pitchFamily="34" charset="0"/>
              <a:buNone/>
              <a:defRPr sz="1067">
                <a:solidFill>
                  <a:srgbClr val="93A0A7"/>
                </a:solidFill>
                <a:latin typeface="+mn-lt"/>
              </a:defRPr>
            </a:lvl1pPr>
            <a:lvl2pPr marL="228589" indent="-152392">
              <a:defRPr sz="1200"/>
            </a:lvl2pPr>
            <a:lvl3pPr marL="457178" indent="-152392">
              <a:defRPr sz="1200"/>
            </a:lvl3pPr>
            <a:lvl4pPr marL="685766" indent="-152392">
              <a:defRPr sz="1200"/>
            </a:lvl4pPr>
            <a:lvl5pPr marL="914354" indent="-152392">
              <a:defRPr sz="1200"/>
            </a:lvl5pPr>
          </a:lstStyle>
          <a:p>
            <a:pPr lvl="0"/>
            <a:r>
              <a:rPr lang="en-US"/>
              <a:t>Click to edit footnot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>
                <a:solidFill>
                  <a:prstClr val="white"/>
                </a:solidFill>
              </a:rPr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829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rge Bulle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err="1"/>
              <a:t>28pt</a:t>
            </a:r>
            <a:r>
              <a:rPr lang="en-US"/>
              <a:t> Arial Headlin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607484" y="1497724"/>
            <a:ext cx="10970683" cy="4674477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US" err="1"/>
              <a:t>18pt</a:t>
            </a:r>
            <a:r>
              <a:rPr lang="en-US"/>
              <a:t> Arial body text</a:t>
            </a:r>
          </a:p>
          <a:p>
            <a:pPr lvl="1"/>
            <a:r>
              <a:rPr lang="en-US" err="1"/>
              <a:t>18pt</a:t>
            </a:r>
            <a:r>
              <a:rPr lang="en-US"/>
              <a:t> Arial bullet one</a:t>
            </a:r>
          </a:p>
          <a:p>
            <a:pPr lvl="2"/>
            <a:r>
              <a:rPr lang="en-US" err="1"/>
              <a:t>18pt</a:t>
            </a:r>
            <a:r>
              <a:rPr lang="en-US"/>
              <a:t> Arial sub-bullet</a:t>
            </a:r>
          </a:p>
          <a:p>
            <a:pPr lvl="3"/>
            <a:r>
              <a:rPr lang="en-US" err="1"/>
              <a:t>16pt</a:t>
            </a:r>
            <a:r>
              <a:rPr lang="en-US"/>
              <a:t> Arial fourth level</a:t>
            </a:r>
          </a:p>
          <a:p>
            <a:pPr lvl="4"/>
            <a:r>
              <a:rPr lang="en-US" err="1"/>
              <a:t>14pt</a:t>
            </a:r>
            <a:r>
              <a:rPr lang="en-US"/>
              <a:t> Arial fifth level</a:t>
            </a:r>
          </a:p>
        </p:txBody>
      </p:sp>
    </p:spTree>
    <p:extLst>
      <p:ext uri="{BB962C8B-B14F-4D97-AF65-F5344CB8AC3E}">
        <p14:creationId xmlns:p14="http://schemas.microsoft.com/office/powerpoint/2010/main" val="27095260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1952" y="304700"/>
            <a:ext cx="11248101" cy="1022965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71949" y="1327663"/>
            <a:ext cx="5522451" cy="5018708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spcBef>
                <a:spcPct val="50000"/>
              </a:spcBef>
            </a:pPr>
            <a:fld id="{FD44707B-D922-47D5-BD24-D96E91B70543}" type="slidenum">
              <a:rPr>
                <a:solidFill>
                  <a:prstClr val="white"/>
                </a:solidFill>
              </a:rPr>
              <a:pPr>
                <a:spcBef>
                  <a:spcPct val="50000"/>
                </a:spcBef>
              </a:pPr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964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1952" y="1327670"/>
            <a:ext cx="11248101" cy="4515775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71952" y="6284231"/>
            <a:ext cx="11248101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75000"/>
              </a:lnSpc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228578" indent="-152384">
              <a:defRPr sz="1200"/>
            </a:lvl2pPr>
            <a:lvl3pPr marL="457155" indent="-152384">
              <a:defRPr sz="1200"/>
            </a:lvl3pPr>
            <a:lvl4pPr marL="685734" indent="-152384">
              <a:defRPr sz="1200"/>
            </a:lvl4pPr>
            <a:lvl5pPr marL="914309" indent="-152384">
              <a:defRPr sz="1200"/>
            </a:lvl5pPr>
          </a:lstStyle>
          <a:p>
            <a:pPr lvl="0"/>
            <a:r>
              <a:rPr lang="en-US"/>
              <a:t>Click to edit footno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spcBef>
                <a:spcPct val="50000"/>
              </a:spcBef>
            </a:pPr>
            <a:fld id="{FD44707B-D922-47D5-BD24-D96E91B70543}" type="slidenum">
              <a:rPr>
                <a:solidFill>
                  <a:prstClr val="white"/>
                </a:solidFill>
              </a:rPr>
              <a:pPr>
                <a:spcBef>
                  <a:spcPct val="50000"/>
                </a:spcBef>
              </a:pPr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8411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1951" y="1327667"/>
            <a:ext cx="11248101" cy="4515775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>
                <a:solidFill>
                  <a:prstClr val="white"/>
                </a:solidFill>
              </a:rPr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096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71950" y="6284165"/>
            <a:ext cx="11248101" cy="123175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75000"/>
              </a:lnSpc>
              <a:spcBef>
                <a:spcPts val="0"/>
              </a:spcBef>
              <a:buFont typeface="Arial" pitchFamily="34" charset="0"/>
              <a:buNone/>
              <a:defRPr sz="1067">
                <a:solidFill>
                  <a:srgbClr val="93A0A7"/>
                </a:solidFill>
                <a:latin typeface="+mn-lt"/>
              </a:defRPr>
            </a:lvl1pPr>
            <a:lvl2pPr marL="228594" indent="-152396">
              <a:defRPr sz="1200"/>
            </a:lvl2pPr>
            <a:lvl3pPr marL="457189" indent="-152396">
              <a:defRPr sz="1200"/>
            </a:lvl3pPr>
            <a:lvl4pPr marL="685783" indent="-152396">
              <a:defRPr sz="1200"/>
            </a:lvl4pPr>
            <a:lvl5pPr marL="914377" indent="-152396">
              <a:defRPr sz="1200"/>
            </a:lvl5pPr>
          </a:lstStyle>
          <a:p>
            <a:pPr lvl="0"/>
            <a:r>
              <a:rPr lang="en-US"/>
              <a:t>Click to edit footnot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>
                <a:solidFill>
                  <a:prstClr val="white"/>
                </a:solidFill>
              </a:rPr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682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30400"/>
            <a:ext cx="10972800" cy="1152000"/>
          </a:xfrm>
        </p:spPr>
        <p:txBody>
          <a:bodyPr>
            <a:normAutofit/>
          </a:bodyPr>
          <a:lstStyle>
            <a:lvl1pPr>
              <a:defRPr sz="3600" baseline="0">
                <a:latin typeface="Intel Clear Light" panose="020B0404020203020204" pitchFamily="34" charset="0"/>
              </a:defRPr>
            </a:lvl1pPr>
          </a:lstStyle>
          <a:p>
            <a:r>
              <a:rPr lang="en-US"/>
              <a:t>36pt Headli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Intel Clear" panose="020B0604020203020204" pitchFamily="34" charset="0"/>
              </a:defRPr>
            </a:lvl1pPr>
          </a:lstStyle>
          <a:p>
            <a:pPr defTabSz="609585"/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Intel Clear" panose="020B0604020203020204" pitchFamily="34" charset="0"/>
              </a:defRPr>
            </a:lvl1pPr>
          </a:lstStyle>
          <a:p>
            <a:fld id="{EE2556C5-CE8C-6547-B838-EA80C61A4AF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09601" y="1699200"/>
            <a:ext cx="10970683" cy="4396800"/>
          </a:xfrm>
        </p:spPr>
        <p:txBody>
          <a:bodyPr/>
          <a:lstStyle>
            <a:lvl1pPr marL="179992" indent="-179380">
              <a:lnSpc>
                <a:spcPct val="100000"/>
              </a:lnSpc>
              <a:defRPr>
                <a:latin typeface="Intel Clear" panose="020B0604020203020204" pitchFamily="34" charset="0"/>
              </a:defRPr>
            </a:lvl1pPr>
            <a:lvl2pPr>
              <a:lnSpc>
                <a:spcPct val="100000"/>
              </a:lnSpc>
              <a:defRPr>
                <a:latin typeface="Intel Clear" panose="020B0604020203020204" pitchFamily="34" charset="0"/>
              </a:defRPr>
            </a:lvl2pPr>
            <a:lvl3pPr>
              <a:lnSpc>
                <a:spcPct val="100000"/>
              </a:lnSpc>
              <a:defRPr>
                <a:latin typeface="Intel Clear" panose="020B0604020203020204" pitchFamily="34" charset="0"/>
              </a:defRPr>
            </a:lvl3pPr>
            <a:lvl4pPr>
              <a:lnSpc>
                <a:spcPct val="100000"/>
              </a:lnSpc>
              <a:defRPr>
                <a:latin typeface="Intel Clear" panose="020B0604020203020204" pitchFamily="34" charset="0"/>
              </a:defRPr>
            </a:lvl4pPr>
            <a:lvl5pPr marL="944515" indent="-233351">
              <a:lnSpc>
                <a:spcPct val="100000"/>
              </a:lnSpc>
              <a:spcBef>
                <a:spcPts val="300"/>
              </a:spcBef>
              <a:defRPr>
                <a:latin typeface="Intel Clear" panose="020B06040202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82448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1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invGray">
          <a:xfrm>
            <a:off x="4241" y="6029328"/>
            <a:ext cx="12187767" cy="8286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08749" tIns="54377" rIns="108749" bIns="54377" anchor="ctr"/>
          <a:lstStyle/>
          <a:p>
            <a:pPr>
              <a:defRPr/>
            </a:pPr>
            <a:endParaRPr lang="de-DE" sz="1500" kern="0">
              <a:solidFill>
                <a:sysClr val="windowText" lastClr="000000"/>
              </a:solidFill>
              <a:latin typeface="Arial" charset="0"/>
              <a:ea typeface="ＭＳ Ｐゴシック" pitchFamily="34" charset="-128"/>
            </a:endParaRPr>
          </a:p>
        </p:txBody>
      </p:sp>
      <p:graphicFrame>
        <p:nvGraphicFramePr>
          <p:cNvPr id="12" name="Object 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1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12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607484" y="1415050"/>
            <a:ext cx="10972800" cy="453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>
          <a:xfrm>
            <a:off x="2361602" y="6417353"/>
            <a:ext cx="1787291" cy="14106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sz="917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87D208C5-350E-4533-B672-7A90F1A43F54}" type="datetime4">
              <a:rPr lang="en-US" smtClean="0">
                <a:solidFill>
                  <a:srgbClr val="FFFFFF"/>
                </a:solidFill>
              </a:rPr>
              <a:t>June 20, 2025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Footer Placeholder 6"/>
          <p:cNvSpPr>
            <a:spLocks noGrp="1"/>
          </p:cNvSpPr>
          <p:nvPr>
            <p:ph type="ftr" sz="quarter" idx="13"/>
          </p:nvPr>
        </p:nvSpPr>
        <p:spPr>
          <a:xfrm>
            <a:off x="614400" y="6433221"/>
            <a:ext cx="1291753" cy="141064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l">
              <a:defRPr sz="917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INTEL CONFIDENTIAL</a:t>
            </a:r>
          </a:p>
        </p:txBody>
      </p:sp>
      <p:sp>
        <p:nvSpPr>
          <p:cNvPr id="16" name="Slide Number Placeholder 7"/>
          <p:cNvSpPr>
            <a:spLocks noGrp="1"/>
          </p:cNvSpPr>
          <p:nvPr>
            <p:ph type="sldNum" sz="quarter" idx="14"/>
          </p:nvPr>
        </p:nvSpPr>
        <p:spPr>
          <a:xfrm>
            <a:off x="267260" y="6429619"/>
            <a:ext cx="203047" cy="141064"/>
          </a:xfrm>
          <a:prstGeom prst="rect">
            <a:avLst/>
          </a:prstGeom>
          <a:noFill/>
          <a:ln w="50800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>
            <a:spAutoFit/>
          </a:bodyPr>
          <a:lstStyle>
            <a:lvl1pPr algn="r" rtl="0" eaLnBrk="0" fontAlgn="base" hangingPunct="0">
              <a:spcBef>
                <a:spcPct val="50000"/>
              </a:spcBef>
              <a:spcAft>
                <a:spcPct val="0"/>
              </a:spcAft>
              <a:defRPr lang="en-US" sz="917" kern="1200" smtClean="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  <a:cs typeface="Verdana"/>
              </a:defRPr>
            </a:lvl1pPr>
          </a:lstStyle>
          <a:p>
            <a:fld id="{0B7D6025-75AC-4E77-BBF3-EEC50D0FA14C}" type="slidenum">
              <a:rPr lang="de-DE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pic>
        <p:nvPicPr>
          <p:cNvPr id="14" name="Picture 73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579098" y="6177194"/>
            <a:ext cx="1047342" cy="5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24276852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3"/>
          <p:cNvSpPr>
            <a:spLocks noChangeArrowheads="1"/>
          </p:cNvSpPr>
          <p:nvPr/>
        </p:nvSpPr>
        <p:spPr bwMode="auto">
          <a:xfrm>
            <a:off x="488951" y="1793881"/>
            <a:ext cx="11209867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algn="r"/>
            <a:endParaRPr lang="en-US" sz="1751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22532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62363" y="3499179"/>
            <a:ext cx="7833493" cy="1258424"/>
          </a:xfrm>
        </p:spPr>
        <p:txBody>
          <a:bodyPr anchor="ctr" anchorCtr="0"/>
          <a:lstStyle>
            <a:lvl1pPr marL="0" algn="l" defTabSz="609585" rtl="0" eaLnBrk="1" latinLnBrk="0" hangingPunct="1">
              <a:lnSpc>
                <a:spcPts val="11600"/>
              </a:lnSpc>
              <a:defRPr lang="en-US" sz="11500" kern="1200" baseline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ntel Clear Pro" panose="020B0804020202060201" pitchFamily="34" charset="0"/>
                <a:ea typeface="Intel Clear Pro" panose="020B0804020202060201" pitchFamily="34" charset="0"/>
                <a:cs typeface="Intel Clear Pro" panose="020B0804020202060201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533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562363" y="5419698"/>
            <a:ext cx="6866888" cy="1178001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 typeface="Wingdings" pitchFamily="2" charset="2"/>
              <a:buNone/>
              <a:defRPr sz="5333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498" y="650882"/>
            <a:ext cx="1666643" cy="1142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030863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>
            <a:lvl1pPr>
              <a:defRPr lang="en-US" sz="6600"/>
            </a:lvl1pPr>
          </a:lstStyle>
          <a:p>
            <a:pPr lvl="0">
              <a:lnSpc>
                <a:spcPct val="7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599" y="1600203"/>
            <a:ext cx="10972799" cy="4525964"/>
          </a:xfrm>
        </p:spPr>
        <p:txBody>
          <a:bodyPr anchor="t" anchorCtr="0"/>
          <a:lstStyle>
            <a:lvl1pPr>
              <a:defRPr sz="3600"/>
            </a:lvl1pPr>
            <a:lvl2pPr>
              <a:defRPr sz="3200"/>
            </a:lvl2pPr>
            <a:lvl3pPr>
              <a:defRPr sz="3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68816142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>
            <a:lvl1pPr>
              <a:defRPr lang="en-US" sz="6600"/>
            </a:lvl1pPr>
          </a:lstStyle>
          <a:p>
            <a:pPr lvl="0">
              <a:lnSpc>
                <a:spcPct val="7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3"/>
            <a:ext cx="5423338" cy="4525964"/>
          </a:xfrm>
        </p:spPr>
        <p:txBody>
          <a:bodyPr anchor="t" anchorCtr="0"/>
          <a:lstStyle>
            <a:lvl1pPr>
              <a:defRPr sz="3600"/>
            </a:lvl1pPr>
            <a:lvl2pPr>
              <a:defRPr sz="3200"/>
            </a:lvl2pPr>
            <a:lvl3pPr>
              <a:defRPr sz="3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159062" y="1600203"/>
            <a:ext cx="5423338" cy="4525964"/>
          </a:xfrm>
        </p:spPr>
        <p:txBody>
          <a:bodyPr anchor="t" anchorCtr="0"/>
          <a:lstStyle>
            <a:lvl1pPr>
              <a:defRPr sz="3600"/>
            </a:lvl1pPr>
            <a:lvl2pPr>
              <a:defRPr sz="3200"/>
            </a:lvl2pPr>
            <a:lvl3pPr>
              <a:defRPr sz="3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0097122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70000"/>
              </a:lnSpc>
              <a:defRPr sz="66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814631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07484" y="431331"/>
            <a:ext cx="10972800" cy="593428"/>
          </a:xfrm>
        </p:spPr>
        <p:txBody>
          <a:bodyPr/>
          <a:lstStyle>
            <a:lvl1pPr>
              <a:defRPr/>
            </a:lvl1pPr>
          </a:lstStyle>
          <a:p>
            <a:r>
              <a:rPr lang="en-US" err="1"/>
              <a:t>28pt</a:t>
            </a:r>
            <a:r>
              <a:rPr lang="en-US"/>
              <a:t> Arial Headlin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607484" y="1182414"/>
            <a:ext cx="10970683" cy="4989787"/>
          </a:xfrm>
        </p:spPr>
        <p:txBody>
          <a:bodyPr/>
          <a:lstStyle/>
          <a:p>
            <a:pPr lvl="0"/>
            <a:r>
              <a:rPr lang="en-US" err="1"/>
              <a:t>18pt</a:t>
            </a:r>
            <a:r>
              <a:rPr lang="en-US"/>
              <a:t> Arial body text</a:t>
            </a:r>
          </a:p>
          <a:p>
            <a:pPr lvl="1"/>
            <a:r>
              <a:rPr lang="en-US" err="1"/>
              <a:t>16pt</a:t>
            </a:r>
            <a:r>
              <a:rPr lang="en-US"/>
              <a:t> Arial bullet one</a:t>
            </a:r>
          </a:p>
          <a:p>
            <a:pPr lvl="2"/>
            <a:r>
              <a:rPr lang="en-US" err="1"/>
              <a:t>16pt</a:t>
            </a:r>
            <a:r>
              <a:rPr lang="en-US"/>
              <a:t> Arial sub-bullet</a:t>
            </a:r>
          </a:p>
          <a:p>
            <a:pPr lvl="3"/>
            <a:r>
              <a:rPr lang="en-US" err="1"/>
              <a:t>14pt</a:t>
            </a:r>
            <a:r>
              <a:rPr lang="en-US"/>
              <a:t> Arial fourth level</a:t>
            </a:r>
          </a:p>
          <a:p>
            <a:pPr lvl="4"/>
            <a:r>
              <a:rPr lang="en-US" err="1"/>
              <a:t>14pt</a:t>
            </a:r>
            <a:r>
              <a:rPr lang="en-US"/>
              <a:t> Arial fifth level</a:t>
            </a:r>
          </a:p>
        </p:txBody>
      </p:sp>
    </p:spTree>
    <p:extLst>
      <p:ext uri="{BB962C8B-B14F-4D97-AF65-F5344CB8AC3E}">
        <p14:creationId xmlns:p14="http://schemas.microsoft.com/office/powerpoint/2010/main" val="317210162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Grp="1" noChangeArrowheads="1"/>
          </p:cNvSpPr>
          <p:nvPr>
            <p:ph type="ctrTitle"/>
          </p:nvPr>
        </p:nvSpPr>
        <p:spPr>
          <a:xfrm>
            <a:off x="505441" y="3148710"/>
            <a:ext cx="6519121" cy="1258424"/>
          </a:xfrm>
        </p:spPr>
        <p:txBody>
          <a:bodyPr anchor="b" anchorCtr="0"/>
          <a:lstStyle>
            <a:lvl1pPr marL="0" algn="l" defTabSz="609585" rtl="0" eaLnBrk="1" latinLnBrk="0" hangingPunct="1">
              <a:defRPr lang="en-US" sz="9600" kern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ntel Clear Pro" panose="020B0804020202060201" pitchFamily="34" charset="0"/>
                <a:ea typeface="Intel Clear Pro" panose="020B0804020202060201" pitchFamily="34" charset="0"/>
                <a:cs typeface="Intel Clear Pro" panose="020B0804020202060201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505440" y="4236792"/>
            <a:ext cx="11342253" cy="1178001"/>
          </a:xfrm>
        </p:spPr>
        <p:txBody>
          <a:bodyPr anchorCtr="0"/>
          <a:lstStyle>
            <a:lvl1pPr marL="0" indent="0" algn="l">
              <a:spcBef>
                <a:spcPts val="0"/>
              </a:spcBef>
              <a:buFont typeface="Wingdings" pitchFamily="2" charset="2"/>
              <a:buNone/>
              <a:defRPr sz="480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69529843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3"/>
          <p:cNvSpPr>
            <a:spLocks noChangeArrowheads="1"/>
          </p:cNvSpPr>
          <p:nvPr/>
        </p:nvSpPr>
        <p:spPr bwMode="auto">
          <a:xfrm>
            <a:off x="488951" y="1793881"/>
            <a:ext cx="11209867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algn="r"/>
            <a:endParaRPr lang="en-US" sz="1751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7" name="Rectangle 4"/>
          <p:cNvSpPr>
            <a:spLocks noGrp="1" noChangeArrowheads="1"/>
          </p:cNvSpPr>
          <p:nvPr>
            <p:ph type="ctrTitle"/>
          </p:nvPr>
        </p:nvSpPr>
        <p:spPr>
          <a:xfrm>
            <a:off x="615970" y="4254029"/>
            <a:ext cx="6519121" cy="1258424"/>
          </a:xfrm>
        </p:spPr>
        <p:txBody>
          <a:bodyPr anchor="b" anchorCtr="0"/>
          <a:lstStyle>
            <a:lvl1pPr marL="0" algn="l" defTabSz="609585" rtl="0" eaLnBrk="1" latinLnBrk="0" hangingPunct="1">
              <a:defRPr lang="en-US" sz="9600" kern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ntel Clear Pro" panose="020B0804020202060201" pitchFamily="34" charset="0"/>
                <a:ea typeface="Intel Clear Pro" panose="020B0804020202060201" pitchFamily="34" charset="0"/>
                <a:cs typeface="Intel Clear Pro" panose="020B0804020202060201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615969" y="5342111"/>
            <a:ext cx="11342253" cy="1178001"/>
          </a:xfrm>
        </p:spPr>
        <p:txBody>
          <a:bodyPr anchorCtr="0"/>
          <a:lstStyle>
            <a:lvl1pPr marL="0" indent="0" algn="l">
              <a:spcBef>
                <a:spcPts val="0"/>
              </a:spcBef>
              <a:buFont typeface="Wingdings" pitchFamily="2" charset="2"/>
              <a:buNone/>
              <a:defRPr sz="480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609600" y="6188301"/>
            <a:ext cx="1097280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B67620F1-AFBA-4990-BA15-2D6E578277C5}"/>
              </a:ext>
            </a:extLst>
          </p:cNvPr>
          <p:cNvSpPr txBox="1"/>
          <p:nvPr userDrawn="1"/>
        </p:nvSpPr>
        <p:spPr>
          <a:xfrm>
            <a:off x="11288024" y="6370243"/>
            <a:ext cx="356188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501206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0603" algn="l" defTabSz="501206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1206" algn="l" defTabSz="501206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1808" algn="l" defTabSz="501206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2411" algn="l" defTabSz="501206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53014" algn="l" defTabSz="501206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03617" algn="l" defTabSz="501206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54219" algn="l" defTabSz="501206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04823" algn="l" defTabSz="501206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6F92ACC-14D2-434B-9F4A-C82BDEC17AF4}" type="slidenum">
              <a:rPr lang="en-US" sz="1067" smtClean="0">
                <a:solidFill>
                  <a:prstClr val="white"/>
                </a:solidFill>
              </a:rPr>
              <a:pPr/>
              <a:t>‹#›</a:t>
            </a:fld>
            <a:endParaRPr lang="en-US" sz="1067">
              <a:solidFill>
                <a:prstClr val="white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289EFB8-4F16-4410-94C2-BC150A149B92}"/>
              </a:ext>
            </a:extLst>
          </p:cNvPr>
          <p:cNvCxnSpPr/>
          <p:nvPr userDrawn="1"/>
        </p:nvCxnSpPr>
        <p:spPr bwMode="auto">
          <a:xfrm>
            <a:off x="11288024" y="6359739"/>
            <a:ext cx="0" cy="267604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0C13DAD2-A2F9-4FE0-8F24-514A2187419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7234" y="6359739"/>
            <a:ext cx="398071" cy="27300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2DA688D-D8F8-4157-AF11-A62A53D2F3F2}"/>
              </a:ext>
            </a:extLst>
          </p:cNvPr>
          <p:cNvSpPr txBox="1"/>
          <p:nvPr userDrawn="1"/>
        </p:nvSpPr>
        <p:spPr>
          <a:xfrm>
            <a:off x="609600" y="6411899"/>
            <a:ext cx="190789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>
                <a:solidFill>
                  <a:prstClr val="white"/>
                </a:solidFill>
              </a:rPr>
              <a:t>Intel® Confidential – Do Not Forward </a:t>
            </a:r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4EECDCF7-A293-4B61-B6CB-22D7D56E651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660441" y="6292348"/>
            <a:ext cx="6866888" cy="386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>
            <a:lvl1pPr marL="0" indent="0" algn="ctr" rtl="0" eaLnBrk="1" fontAlgn="base" hangingPunct="1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defRPr sz="5333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n-ea"/>
                <a:cs typeface="+mn-cs"/>
              </a:defRPr>
            </a:lvl1pPr>
            <a:lvl2pPr marL="416460" indent="-16472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Char char="–"/>
              <a:defRPr sz="3200">
                <a:solidFill>
                  <a:schemeClr val="tx1"/>
                </a:solidFill>
                <a:effectLst/>
                <a:latin typeface="+mn-lt"/>
                <a:cs typeface="+mn-cs"/>
              </a:defRPr>
            </a:lvl2pPr>
            <a:lvl3pPr marL="668190" indent="-16472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Char char="–"/>
              <a:defRPr sz="3200">
                <a:solidFill>
                  <a:schemeClr val="tx1"/>
                </a:solidFill>
                <a:effectLst/>
                <a:latin typeface="+mn-lt"/>
                <a:cs typeface="+mn-cs"/>
              </a:defRPr>
            </a:lvl3pPr>
            <a:lvl4pPr marL="1010407" indent="-175169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17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  <a:cs typeface="+mn-cs"/>
              </a:defRPr>
            </a:lvl4pPr>
            <a:lvl5pPr marL="1262138" indent="-168209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17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  <a:cs typeface="+mn-cs"/>
              </a:defRPr>
            </a:lvl5pPr>
            <a:lvl6pPr marL="1596233" indent="-168209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17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  <a:cs typeface="+mn-cs"/>
              </a:defRPr>
            </a:lvl6pPr>
            <a:lvl7pPr marL="1930329" indent="-168209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17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  <a:cs typeface="+mn-cs"/>
              </a:defRPr>
            </a:lvl7pPr>
            <a:lvl8pPr marL="2264423" indent="-168209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17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  <a:cs typeface="+mn-cs"/>
              </a:defRPr>
            </a:lvl8pPr>
            <a:lvl9pPr marL="2598518" indent="-168209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17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  <a:cs typeface="+mn-cs"/>
              </a:defRPr>
            </a:lvl9pPr>
          </a:lstStyle>
          <a:p>
            <a:endParaRPr lang="en-US" sz="2400" kern="0">
              <a:solidFill>
                <a:schemeClr val="tx1"/>
              </a:solidFill>
              <a:latin typeface="+mj-lt"/>
              <a:ea typeface="Intel Clear Light" panose="020B0404020203020204" pitchFamily="34" charset="0"/>
              <a:cs typeface="Intel Clear Light" panose="020B0404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9263255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7201" y="1983933"/>
            <a:ext cx="3657600" cy="2508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633182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7484" y="431331"/>
            <a:ext cx="10970683" cy="1158240"/>
          </a:xfrm>
        </p:spPr>
        <p:txBody>
          <a:bodyPr/>
          <a:lstStyle>
            <a:lvl1pPr>
              <a:defRPr/>
            </a:lvl1pPr>
          </a:lstStyle>
          <a:p>
            <a:r>
              <a:rPr lang="en-US" err="1"/>
              <a:t>28pt</a:t>
            </a:r>
            <a:r>
              <a:rPr lang="en-US"/>
              <a:t> Arial Headlin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7485" y="1604433"/>
            <a:ext cx="5342468" cy="456776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sz="1867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marR="0" lvl="0" fontAlgn="auto">
              <a:lnSpc>
                <a:spcPct val="100000"/>
              </a:lnSpc>
              <a:buClrTx/>
              <a:buSzTx/>
              <a:tabLst/>
            </a:pPr>
            <a:r>
              <a:rPr lang="en-US" err="1"/>
              <a:t>18pt</a:t>
            </a:r>
            <a:r>
              <a:rPr lang="en-US"/>
              <a:t> Arial body text</a:t>
            </a:r>
          </a:p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 err="1"/>
              <a:t>16pt</a:t>
            </a:r>
            <a:r>
              <a:rPr lang="en-US"/>
              <a:t> Arial bullet one</a:t>
            </a:r>
          </a:p>
          <a:p>
            <a:pPr lvl="2"/>
            <a:r>
              <a:rPr lang="en-US" err="1"/>
              <a:t>14pt</a:t>
            </a:r>
            <a:r>
              <a:rPr lang="en-US"/>
              <a:t> Arial third level</a:t>
            </a:r>
          </a:p>
          <a:p>
            <a:pPr lvl="3"/>
            <a:r>
              <a:rPr lang="en-US" err="1"/>
              <a:t>12pt</a:t>
            </a:r>
            <a:r>
              <a:rPr lang="en-US"/>
              <a:t> Arial fourth level</a:t>
            </a:r>
          </a:p>
          <a:p>
            <a:pPr lvl="4"/>
            <a:r>
              <a:rPr lang="en-US" err="1"/>
              <a:t>12pt</a:t>
            </a:r>
            <a:r>
              <a:rPr lang="en-US"/>
              <a:t> Arial 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6237817" y="1604433"/>
            <a:ext cx="5340352" cy="456776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sz="1867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marR="0" lvl="0" fontAlgn="auto">
              <a:lnSpc>
                <a:spcPct val="100000"/>
              </a:lnSpc>
              <a:buClrTx/>
              <a:buSzTx/>
              <a:tabLst/>
            </a:pPr>
            <a:r>
              <a:rPr lang="en-US" err="1"/>
              <a:t>18pt</a:t>
            </a:r>
            <a:r>
              <a:rPr lang="en-US"/>
              <a:t> Arial body text</a:t>
            </a:r>
          </a:p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 err="1"/>
              <a:t>16pt</a:t>
            </a:r>
            <a:r>
              <a:rPr lang="en-US"/>
              <a:t> Arial bullet one</a:t>
            </a:r>
          </a:p>
          <a:p>
            <a:pPr lvl="2"/>
            <a:r>
              <a:rPr lang="en-US" err="1"/>
              <a:t>14pt</a:t>
            </a:r>
            <a:r>
              <a:rPr lang="en-US"/>
              <a:t> Arial third level</a:t>
            </a:r>
          </a:p>
          <a:p>
            <a:pPr lvl="3"/>
            <a:r>
              <a:rPr lang="en-US" err="1"/>
              <a:t>12pt</a:t>
            </a:r>
            <a:r>
              <a:rPr lang="en-US"/>
              <a:t> Arial fourth level</a:t>
            </a:r>
          </a:p>
          <a:p>
            <a:pPr lvl="4"/>
            <a:r>
              <a:rPr lang="en-US" err="1"/>
              <a:t>12pt</a:t>
            </a:r>
            <a:r>
              <a:rPr lang="en-US"/>
              <a:t> Arial fifth level</a:t>
            </a:r>
          </a:p>
        </p:txBody>
      </p:sp>
    </p:spTree>
    <p:extLst>
      <p:ext uri="{BB962C8B-B14F-4D97-AF65-F5344CB8AC3E}">
        <p14:creationId xmlns:p14="http://schemas.microsoft.com/office/powerpoint/2010/main" val="34832574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e and Attribu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7484" y="431331"/>
            <a:ext cx="10970683" cy="1158240"/>
          </a:xfrm>
        </p:spPr>
        <p:txBody>
          <a:bodyPr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733" b="0" i="0" u="none" strike="noStrike" baseline="0" smtClean="0"/>
            </a:lvl1pPr>
          </a:lstStyle>
          <a:p>
            <a:r>
              <a:rPr lang="en-US" err="1"/>
              <a:t>28pt</a:t>
            </a:r>
            <a:r>
              <a:rPr lang="en-US"/>
              <a:t> Arial 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7485" y="1604434"/>
            <a:ext cx="10970684" cy="4567767"/>
          </a:xfrm>
        </p:spPr>
        <p:txBody>
          <a:bodyPr anchor="ctr" anchorCtr="0"/>
          <a:lstStyle>
            <a:lvl1pPr marL="253994" indent="-253994">
              <a:defRPr sz="5867" baseline="0">
                <a:solidFill>
                  <a:schemeClr val="accent2"/>
                </a:solidFill>
                <a:latin typeface="+mj-lt"/>
                <a:cs typeface="Arial" panose="020B0604020202020204" pitchFamily="34" charset="0"/>
              </a:defRPr>
            </a:lvl1pPr>
            <a:lvl2pPr marL="556670" indent="-300559">
              <a:buFont typeface="Lucida Grande"/>
              <a:buChar char="−"/>
              <a:defRPr sz="1600" baseline="0">
                <a:latin typeface="+mn-lt"/>
                <a:cs typeface="Arial" panose="020B0604020202020204" pitchFamily="34" charset="0"/>
              </a:defRPr>
            </a:lvl2pPr>
            <a:lvl3pPr marL="914377" indent="-304792">
              <a:defRPr sz="1600">
                <a:latin typeface="+mn-lt"/>
              </a:defRPr>
            </a:lvl3pPr>
            <a:lvl4pPr>
              <a:defRPr sz="1467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“</a:t>
            </a:r>
            <a:r>
              <a:rPr lang="en-US" err="1"/>
              <a:t>44pt</a:t>
            </a:r>
            <a:r>
              <a:rPr lang="en-US"/>
              <a:t> Arial Text”</a:t>
            </a:r>
          </a:p>
          <a:p>
            <a:pPr lvl="1"/>
            <a:r>
              <a:rPr lang="en-US" err="1"/>
              <a:t>12pt</a:t>
            </a:r>
            <a:r>
              <a:rPr lang="en-US"/>
              <a:t> Attribution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2072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/>
          <p:cNvSpPr>
            <a:spLocks noGrp="1" noChangeAspect="1"/>
          </p:cNvSpPr>
          <p:nvPr>
            <p:ph type="pic" sz="quarter" idx="14"/>
          </p:nvPr>
        </p:nvSpPr>
        <p:spPr>
          <a:xfrm>
            <a:off x="0" y="6406896"/>
            <a:ext cx="12192000" cy="45110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7484" y="431331"/>
            <a:ext cx="10970683" cy="1158240"/>
          </a:xfrm>
        </p:spPr>
        <p:txBody>
          <a:bodyPr>
            <a:normAutofit/>
          </a:bodyPr>
          <a:lstStyle>
            <a:lvl1pPr>
              <a:defRPr sz="3733" baseline="0"/>
            </a:lvl1pPr>
          </a:lstStyle>
          <a:p>
            <a:r>
              <a:rPr lang="en-US" err="1"/>
              <a:t>28pt</a:t>
            </a:r>
            <a:r>
              <a:rPr lang="en-US"/>
              <a:t> Arial Headlin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607484" y="6417734"/>
            <a:ext cx="2192908" cy="16421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 rtl="0"/>
            <a:r>
              <a:rPr lang="en-US" sz="1067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t>Intel Confidential — Do Not Forward</a:t>
            </a:r>
          </a:p>
        </p:txBody>
      </p:sp>
    </p:spTree>
    <p:extLst>
      <p:ext uri="{BB962C8B-B14F-4D97-AF65-F5344CB8AC3E}">
        <p14:creationId xmlns:p14="http://schemas.microsoft.com/office/powerpoint/2010/main" val="2257252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3432176"/>
            <a:ext cx="12192000" cy="34258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10"/>
          <p:cNvSpPr>
            <a:spLocks noGrp="1" noChangeAspect="1"/>
          </p:cNvSpPr>
          <p:nvPr>
            <p:ph type="pic" sz="quarter" idx="14"/>
          </p:nvPr>
        </p:nvSpPr>
        <p:spPr>
          <a:xfrm>
            <a:off x="0" y="6406896"/>
            <a:ext cx="12192000" cy="45110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7484" y="431331"/>
            <a:ext cx="10970683" cy="1158240"/>
          </a:xfrm>
        </p:spPr>
        <p:txBody>
          <a:bodyPr>
            <a:noAutofit/>
          </a:bodyPr>
          <a:lstStyle>
            <a:lvl1pPr>
              <a:defRPr sz="3733" baseline="0"/>
            </a:lvl1pPr>
          </a:lstStyle>
          <a:p>
            <a:r>
              <a:rPr lang="en-US" err="1"/>
              <a:t>28pt</a:t>
            </a:r>
            <a:r>
              <a:rPr lang="en-US"/>
              <a:t> Arial Headline</a:t>
            </a:r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7485" y="1604433"/>
            <a:ext cx="5342468" cy="174572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sz="1867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marR="0" lvl="0" fontAlgn="auto">
              <a:lnSpc>
                <a:spcPct val="100000"/>
              </a:lnSpc>
              <a:buClrTx/>
              <a:buSzTx/>
              <a:tabLst/>
            </a:pPr>
            <a:r>
              <a:rPr lang="en-US" err="1"/>
              <a:t>18pt</a:t>
            </a:r>
            <a:r>
              <a:rPr lang="en-US"/>
              <a:t> Arial body text</a:t>
            </a:r>
          </a:p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 err="1"/>
              <a:t>16pt</a:t>
            </a:r>
            <a:r>
              <a:rPr lang="en-US"/>
              <a:t> Arial bullet one</a:t>
            </a:r>
          </a:p>
          <a:p>
            <a:pPr lvl="2"/>
            <a:r>
              <a:rPr lang="en-US" err="1"/>
              <a:t>14pt</a:t>
            </a:r>
            <a:r>
              <a:rPr lang="en-US"/>
              <a:t> Arial third level</a:t>
            </a:r>
          </a:p>
          <a:p>
            <a:pPr lvl="3"/>
            <a:r>
              <a:rPr lang="en-US" err="1"/>
              <a:t>12pt</a:t>
            </a:r>
            <a:r>
              <a:rPr lang="en-US"/>
              <a:t> Arial fourth level</a:t>
            </a:r>
          </a:p>
          <a:p>
            <a:pPr lvl="4"/>
            <a:r>
              <a:rPr lang="en-US" err="1"/>
              <a:t>12pt</a:t>
            </a:r>
            <a:r>
              <a:rPr lang="en-US"/>
              <a:t> Arial 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half" idx="15" hasCustomPrompt="1"/>
          </p:nvPr>
        </p:nvSpPr>
        <p:spPr>
          <a:xfrm>
            <a:off x="6237817" y="1604433"/>
            <a:ext cx="5340352" cy="174572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sz="1867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marR="0" lvl="0" fontAlgn="auto">
              <a:lnSpc>
                <a:spcPct val="100000"/>
              </a:lnSpc>
              <a:buClrTx/>
              <a:buSzTx/>
              <a:tabLst/>
            </a:pPr>
            <a:r>
              <a:rPr lang="en-US" err="1"/>
              <a:t>18pt</a:t>
            </a:r>
            <a:r>
              <a:rPr lang="en-US"/>
              <a:t> Arial body text</a:t>
            </a:r>
          </a:p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 err="1"/>
              <a:t>16pt</a:t>
            </a:r>
            <a:r>
              <a:rPr lang="en-US"/>
              <a:t> Arial bullet one</a:t>
            </a:r>
          </a:p>
          <a:p>
            <a:pPr lvl="2"/>
            <a:r>
              <a:rPr lang="en-US" err="1"/>
              <a:t>14pt</a:t>
            </a:r>
            <a:r>
              <a:rPr lang="en-US"/>
              <a:t> Arial third level</a:t>
            </a:r>
          </a:p>
          <a:p>
            <a:pPr lvl="3"/>
            <a:r>
              <a:rPr lang="en-US" err="1"/>
              <a:t>12pt</a:t>
            </a:r>
            <a:r>
              <a:rPr lang="en-US"/>
              <a:t> Arial fourth level</a:t>
            </a:r>
          </a:p>
          <a:p>
            <a:pPr lvl="4"/>
            <a:r>
              <a:rPr lang="en-US" err="1"/>
              <a:t>12pt</a:t>
            </a:r>
            <a:r>
              <a:rPr lang="en-US"/>
              <a:t> Arial fifth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07484" y="6417734"/>
            <a:ext cx="2192908" cy="16421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 rtl="0"/>
            <a:r>
              <a:rPr lang="en-US" sz="1067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t>Intel Confidential — Do Not Forward</a:t>
            </a:r>
          </a:p>
        </p:txBody>
      </p:sp>
    </p:spTree>
    <p:extLst>
      <p:ext uri="{BB962C8B-B14F-4D97-AF65-F5344CB8AC3E}">
        <p14:creationId xmlns:p14="http://schemas.microsoft.com/office/powerpoint/2010/main" val="10530225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ight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237818" y="2"/>
            <a:ext cx="5954183" cy="6857999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10"/>
          <p:cNvSpPr>
            <a:spLocks noGrp="1" noChangeAspect="1"/>
          </p:cNvSpPr>
          <p:nvPr>
            <p:ph type="pic" sz="quarter" idx="14"/>
          </p:nvPr>
        </p:nvSpPr>
        <p:spPr>
          <a:xfrm>
            <a:off x="0" y="6406896"/>
            <a:ext cx="12192000" cy="45110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7484" y="431331"/>
            <a:ext cx="5342467" cy="1158240"/>
          </a:xfrm>
        </p:spPr>
        <p:txBody>
          <a:bodyPr>
            <a:noAutofit/>
          </a:bodyPr>
          <a:lstStyle>
            <a:lvl1pPr>
              <a:defRPr sz="3733" baseline="0"/>
            </a:lvl1pPr>
          </a:lstStyle>
          <a:p>
            <a:r>
              <a:rPr lang="en-US" err="1"/>
              <a:t>28pt</a:t>
            </a:r>
            <a:r>
              <a:rPr lang="en-US"/>
              <a:t> Arial Headline</a:t>
            </a:r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7485" y="1604433"/>
            <a:ext cx="5342467" cy="456776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sz="1867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marR="0" lvl="0" fontAlgn="auto">
              <a:lnSpc>
                <a:spcPct val="100000"/>
              </a:lnSpc>
              <a:buClrTx/>
              <a:buSzTx/>
              <a:tabLst/>
            </a:pPr>
            <a:r>
              <a:rPr lang="en-US" err="1"/>
              <a:t>18pt</a:t>
            </a:r>
            <a:r>
              <a:rPr lang="en-US"/>
              <a:t> Arial body text</a:t>
            </a:r>
          </a:p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 err="1"/>
              <a:t>16pt</a:t>
            </a:r>
            <a:r>
              <a:rPr lang="en-US"/>
              <a:t> Arial bullet one</a:t>
            </a:r>
          </a:p>
          <a:p>
            <a:pPr lvl="2"/>
            <a:r>
              <a:rPr lang="en-US" err="1"/>
              <a:t>14pt</a:t>
            </a:r>
            <a:r>
              <a:rPr lang="en-US"/>
              <a:t> Arial third level</a:t>
            </a:r>
          </a:p>
          <a:p>
            <a:pPr lvl="3"/>
            <a:r>
              <a:rPr lang="en-US" err="1"/>
              <a:t>12pt</a:t>
            </a:r>
            <a:r>
              <a:rPr lang="en-US"/>
              <a:t> Arial fourth level</a:t>
            </a:r>
          </a:p>
          <a:p>
            <a:pPr lvl="4"/>
            <a:r>
              <a:rPr lang="en-US" err="1"/>
              <a:t>12pt</a:t>
            </a:r>
            <a:r>
              <a:rPr lang="en-US"/>
              <a:t> Arial fifth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07484" y="6417734"/>
            <a:ext cx="2192908" cy="16421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 rtl="0"/>
            <a:r>
              <a:rPr lang="en-US" sz="1067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t>Intel Confidential — Do Not Forward</a:t>
            </a:r>
          </a:p>
        </p:txBody>
      </p:sp>
    </p:spTree>
    <p:extLst>
      <p:ext uri="{BB962C8B-B14F-4D97-AF65-F5344CB8AC3E}">
        <p14:creationId xmlns:p14="http://schemas.microsoft.com/office/powerpoint/2010/main" val="13652171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Relationship Id="rId9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3" descr="\\.psf\Home\Desktop\WideFooterAI.png"/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16" y="6409112"/>
            <a:ext cx="12192000" cy="448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7484" y="431331"/>
            <a:ext cx="10972800" cy="6564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err="1"/>
              <a:t>28pt</a:t>
            </a:r>
            <a:r>
              <a:rPr lang="en-US"/>
              <a:t> Arial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7484" y="1213946"/>
            <a:ext cx="10970683" cy="49582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err="1"/>
              <a:t>18pt</a:t>
            </a:r>
            <a:r>
              <a:rPr lang="en-US"/>
              <a:t> Arial body text</a:t>
            </a:r>
          </a:p>
          <a:p>
            <a:pPr lvl="1"/>
            <a:r>
              <a:rPr lang="en-US" err="1"/>
              <a:t>16pt</a:t>
            </a:r>
            <a:r>
              <a:rPr lang="en-US"/>
              <a:t> Arial bullet one</a:t>
            </a:r>
          </a:p>
          <a:p>
            <a:pPr lvl="2"/>
            <a:r>
              <a:rPr lang="en-US" err="1"/>
              <a:t>16pt</a:t>
            </a:r>
            <a:r>
              <a:rPr lang="en-US"/>
              <a:t> Arial sub-bullet</a:t>
            </a:r>
          </a:p>
          <a:p>
            <a:pPr lvl="3"/>
            <a:r>
              <a:rPr lang="en-US" err="1"/>
              <a:t>14pt</a:t>
            </a:r>
            <a:r>
              <a:rPr lang="en-US"/>
              <a:t> Arial fourth level</a:t>
            </a:r>
          </a:p>
          <a:p>
            <a:pPr lvl="4"/>
            <a:r>
              <a:rPr lang="en-US" err="1"/>
              <a:t>14pt</a:t>
            </a:r>
            <a:r>
              <a:rPr lang="en-US"/>
              <a:t> Arial 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63136" y="6456191"/>
            <a:ext cx="284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67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EE2556C5-CE8C-6547-B838-EA80C61A4AF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607484" y="6417734"/>
            <a:ext cx="2192908" cy="16421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 rtl="0"/>
            <a:r>
              <a:rPr lang="en-US" sz="1067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t>Intel Confidential — Do Not Forward</a:t>
            </a:r>
          </a:p>
        </p:txBody>
      </p:sp>
    </p:spTree>
    <p:extLst>
      <p:ext uri="{BB962C8B-B14F-4D97-AF65-F5344CB8AC3E}">
        <p14:creationId xmlns:p14="http://schemas.microsoft.com/office/powerpoint/2010/main" val="4117330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  <p:sldLayoutId id="2147483687" r:id="rId24"/>
    <p:sldLayoutId id="2147483689" r:id="rId25"/>
    <p:sldLayoutId id="2147483690" r:id="rId26"/>
    <p:sldLayoutId id="2147483691" r:id="rId27"/>
    <p:sldLayoutId id="2147483694" r:id="rId28"/>
    <p:sldLayoutId id="2147483699" r:id="rId29"/>
    <p:sldLayoutId id="2147483700" r:id="rId30"/>
    <p:sldLayoutId id="2147483701" r:id="rId31"/>
    <p:sldLayoutId id="2147483702" r:id="rId32"/>
    <p:sldLayoutId id="2147483708" r:id="rId33"/>
    <p:sldLayoutId id="2147483709" r:id="rId34"/>
    <p:sldLayoutId id="2147483710" r:id="rId35"/>
  </p:sldLayoutIdLst>
  <p:hf hdr="0" ftr="0" dt="0"/>
  <p:txStyles>
    <p:titleStyle>
      <a:lvl1pPr algn="l" defTabSz="609585" rtl="0" eaLnBrk="1" latinLnBrk="0" hangingPunct="1">
        <a:spcBef>
          <a:spcPct val="0"/>
        </a:spcBef>
        <a:buNone/>
        <a:defRPr sz="3733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spcBef>
          <a:spcPts val="1600"/>
        </a:spcBef>
        <a:spcAft>
          <a:spcPts val="0"/>
        </a:spcAft>
        <a:buFont typeface="Wingdings" panose="05000000000000000000" pitchFamily="2" charset="2"/>
        <a:buNone/>
        <a:defRPr sz="2400" b="0" kern="1200">
          <a:solidFill>
            <a:srgbClr val="0071C5"/>
          </a:solidFill>
          <a:latin typeface="+mn-lt"/>
          <a:ea typeface="+mn-ea"/>
          <a:cs typeface="Arial" panose="020B0604020202020204" pitchFamily="34" charset="0"/>
        </a:defRPr>
      </a:lvl1pPr>
      <a:lvl2pPr marL="300559" indent="-300559" algn="l" defTabSz="609585" rtl="0" eaLnBrk="1" latinLnBrk="0" hangingPunct="1">
        <a:spcBef>
          <a:spcPts val="1600"/>
        </a:spcBef>
        <a:buFont typeface="Wingdings" charset="2"/>
        <a:buChar char="§"/>
        <a:defRPr sz="2133" kern="1200" baseline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2pPr>
      <a:lvl3pPr marL="761981" indent="-304792" algn="l" defTabSz="609585" rtl="0" eaLnBrk="1" latinLnBrk="0" hangingPunct="1">
        <a:spcBef>
          <a:spcPts val="1067"/>
        </a:spcBef>
        <a:buFont typeface="Wingdings" charset="2"/>
        <a:buChar char="§"/>
        <a:defRPr sz="2133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3pPr>
      <a:lvl4pPr marL="1293252" indent="-304792" algn="l" defTabSz="609585" rtl="0" eaLnBrk="1" latinLnBrk="0" hangingPunct="1">
        <a:spcBef>
          <a:spcPct val="20000"/>
        </a:spcBef>
        <a:buFont typeface="Arial"/>
        <a:buChar char="–"/>
        <a:defRPr sz="1867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4pPr>
      <a:lvl5pPr marL="1758907" indent="-304792" algn="l" defTabSz="609585" rtl="0" eaLnBrk="1" latinLnBrk="0" hangingPunct="1">
        <a:spcBef>
          <a:spcPct val="20000"/>
        </a:spcBef>
        <a:buFont typeface="Intel Clear" panose="020B0604020203020204" pitchFamily="34" charset="0"/>
        <a:buChar char="–"/>
        <a:defRPr sz="1867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13000">
              <a:schemeClr val="accent2"/>
            </a:gs>
            <a:gs pos="30000">
              <a:schemeClr val="accent1"/>
            </a:gs>
            <a:gs pos="46000">
              <a:schemeClr val="bg1"/>
            </a:gs>
            <a:gs pos="61000">
              <a:schemeClr val="bg1">
                <a:lumMod val="50000"/>
              </a:schemeClr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2" r="1" b="17560"/>
          <a:stretch/>
        </p:blipFill>
        <p:spPr>
          <a:xfrm>
            <a:off x="-14068" y="253537"/>
            <a:ext cx="12206068" cy="6604463"/>
          </a:xfrm>
          <a:prstGeom prst="rect">
            <a:avLst/>
          </a:prstGeom>
        </p:spPr>
      </p:pic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6835" y="381003"/>
            <a:ext cx="11214101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en-US" sz="2333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4639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3"/>
            <a:ext cx="10972800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09600" y="6411899"/>
            <a:ext cx="190789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>
                <a:solidFill>
                  <a:prstClr val="white"/>
                </a:solidFill>
              </a:rPr>
              <a:t>Intel® Confidential – Do Not Forward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F86C5D3-844B-4202-911C-40AFDCD8419A}"/>
              </a:ext>
            </a:extLst>
          </p:cNvPr>
          <p:cNvCxnSpPr/>
          <p:nvPr userDrawn="1"/>
        </p:nvCxnSpPr>
        <p:spPr bwMode="auto">
          <a:xfrm>
            <a:off x="671412" y="1069769"/>
            <a:ext cx="1097280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5911523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</p:sldLayoutIdLst>
  <p:transition>
    <p:fade/>
  </p:transition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6600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96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9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86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81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8" indent="-16472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36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60" indent="-16472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3200">
          <a:solidFill>
            <a:schemeClr val="tx1"/>
          </a:solidFill>
          <a:effectLst/>
          <a:latin typeface="+mn-lt"/>
          <a:cs typeface="+mn-cs"/>
        </a:defRPr>
      </a:lvl2pPr>
      <a:lvl3pPr marL="668190" indent="-16472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3200">
          <a:solidFill>
            <a:schemeClr val="tx1"/>
          </a:solidFill>
          <a:effectLst/>
          <a:latin typeface="+mn-lt"/>
          <a:cs typeface="+mn-cs"/>
        </a:defRPr>
      </a:lvl3pPr>
      <a:lvl4pPr marL="1010407" indent="-175169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38" indent="-168209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233" indent="-168209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329" indent="-168209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423" indent="-168209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518" indent="-168209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90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96" algn="l" defTabSz="668190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90" algn="l" defTabSz="668190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86" algn="l" defTabSz="668190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81" algn="l" defTabSz="668190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77" algn="l" defTabSz="668190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71" algn="l" defTabSz="668190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67" algn="l" defTabSz="668190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761" algn="l" defTabSz="668190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7652" y="2837772"/>
            <a:ext cx="10950515" cy="1470025"/>
          </a:xfrm>
        </p:spPr>
        <p:txBody>
          <a:bodyPr/>
          <a:lstStyle/>
          <a:p>
            <a:r>
              <a:rPr lang="en-US" dirty="0" err="1"/>
              <a:t>SysDebug</a:t>
            </a:r>
            <a:r>
              <a:rPr lang="en-US" dirty="0"/>
              <a:t> Handbook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C9122B6E-2C36-4127-ACB7-5A225CEC4CB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dirty="0" err="1">
                <a:cs typeface="Arial"/>
              </a:rPr>
              <a:t>SysDebug</a:t>
            </a:r>
            <a:r>
              <a:rPr lang="en-US" dirty="0">
                <a:cs typeface="Arial"/>
              </a:rPr>
              <a:t> Tea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93034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DC8E65-5223-B549-C451-70FB4A7072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84AE257-E8EC-C483-E806-EAC47F2DD8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ysdebug</a:t>
            </a:r>
            <a:r>
              <a:rPr lang="en-US" dirty="0"/>
              <a:t> Inpu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AF0998-C893-A2A8-67C2-0473E62FB03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chemeClr val="tx1"/>
                </a:solidFill>
              </a:rPr>
              <a:t>Any pre-sighting with Critical/ High exposure example TOR TO, Kernel Panic , Hang/abrupt reboot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Sightings that need inputs on next steps for debug and including spinoff as a Task forc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Sightings that need level set on exposure/priority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Sightings that need support/root-cause/fix from external team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Sightings in Critical/High category both Internal and Customers issue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chemeClr val="tx1"/>
                </a:solidFill>
              </a:rPr>
              <a:t>Initial bug scrubbing of pre-sightings in DPMO and cluster</a:t>
            </a:r>
          </a:p>
        </p:txBody>
      </p:sp>
    </p:spTree>
    <p:extLst>
      <p:ext uri="{BB962C8B-B14F-4D97-AF65-F5344CB8AC3E}">
        <p14:creationId xmlns:p14="http://schemas.microsoft.com/office/powerpoint/2010/main" val="2512800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0A445D2-6E8C-A648-B77B-19985CABA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1C5283C-8638-ECEC-AD93-61618C8299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ysdebug</a:t>
            </a:r>
            <a:r>
              <a:rPr lang="en-US" dirty="0"/>
              <a:t> Outpu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BF1F1E-B979-382A-7250-2E0C59550FE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Collaborate with external teams for root-cause, further debug and fix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Help to set direction / define next steps for complex issues  when requested</a:t>
            </a:r>
          </a:p>
          <a:p>
            <a:pPr marL="342900" lvl="1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Creation of TF with relevant experts (including internal and external teams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Alignment of exposure/priority based on Intel sighting guideline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Report out sighting dashboard to PVST and Management</a:t>
            </a:r>
          </a:p>
          <a:p>
            <a:pPr marL="804322" lvl="2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Including Progress/next steps on TOP Issue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Ownership of closing the sighting after root-caus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52978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FCF0F1C-5CCC-8CCD-1F3B-321525900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2D7404F-CD5F-9672-A0F8-1D917ACAD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ysdebug</a:t>
            </a:r>
            <a:r>
              <a:rPr lang="en-US" dirty="0"/>
              <a:t> expectat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CD229-FDEE-F5F4-1C4A-B4926473ADD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07484" y="1087820"/>
            <a:ext cx="10970683" cy="5084381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Sighting (co)owners are end-to-end responsible for the root-cause, closure and including tracking the transferred sighting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Sighting (co)owners are responsible for publishing the weekly updates on the sightings/pre-sighting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chemeClr val="tx1"/>
                </a:solidFill>
              </a:rPr>
              <a:t>Pre-sightings would be fully owned by the submitter and domain team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Sightings owners to flag any issues that they need support or think it is critical, and need support from other team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Domain Team to drive TF to closure and report out the finding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Domain Team to roll up local debug forum and bring in the process to manage the sam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Domain Team not to change priority/exposure/close/reassign across domains on their  own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chemeClr val="tx1"/>
                </a:solidFill>
              </a:rPr>
              <a:t>Domain Team to own the repro/validation/debug of both </a:t>
            </a:r>
            <a:r>
              <a:rPr lang="en-US" dirty="0">
                <a:solidFill>
                  <a:schemeClr val="tx1"/>
                </a:solidFill>
              </a:rPr>
              <a:t>sighting and </a:t>
            </a:r>
            <a:r>
              <a:rPr lang="en-US" b="1" dirty="0">
                <a:solidFill>
                  <a:schemeClr val="tx1"/>
                </a:solidFill>
              </a:rPr>
              <a:t>pre-sighting</a:t>
            </a:r>
          </a:p>
        </p:txBody>
      </p:sp>
    </p:spTree>
    <p:extLst>
      <p:ext uri="{BB962C8B-B14F-4D97-AF65-F5344CB8AC3E}">
        <p14:creationId xmlns:p14="http://schemas.microsoft.com/office/powerpoint/2010/main" val="41364004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44B570C-24B2-8616-A2E9-662FDDEFD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D440578-6DED-9515-2E96-A082C33825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ysdebug</a:t>
            </a:r>
            <a:r>
              <a:rPr lang="en-US" dirty="0"/>
              <a:t> not d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249E5A-02A0-36A0-13FC-8114E372330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Will not involve in sightings assigned to domain teams unless called upon for help, including the tracking of progress of transferred sighting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chemeClr val="tx1"/>
                </a:solidFill>
              </a:rPr>
              <a:t>Will not involve in pre-sightings to sighting promotion and bug scrubbing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Define debug process for domain team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Will not involve in TF unless called upon for help</a:t>
            </a:r>
          </a:p>
          <a:p>
            <a:endParaRPr lang="en-US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35768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B84E223-BED1-5C3C-C1AE-32054797F2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99DCD6-8C10-2ADC-79AC-838EBF8282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ysdebug</a:t>
            </a:r>
            <a:r>
              <a:rPr lang="en-US" dirty="0"/>
              <a:t> Manag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D290E8-FE7A-2BE0-72A3-A54F390E576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Overall planning sighting/pre-sighting disposition, including tracking to plan target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Resource Allocation, Resource Loading, Prioritization and Conflict management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Escalation Management both internal and external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Sighting Dashboard creation/management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</a:rPr>
              <a:t>Competency Management and planning on the GAP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0926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20095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95B4655-9DDA-9A96-3004-B45175613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541140F-FCEA-6499-984A-7EF10AEF9A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edback from Architecture Group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E6DB96E-D64A-EA8B-9BAD-A0EA0EEF6E7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Knowledge sharing sessions on difficult problem we have debugged so far, once or twice in a month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There should be representative from domain team for every debug meeting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Heatmap on the areas of improvement, should go from </a:t>
            </a:r>
            <a:r>
              <a:rPr lang="en-US" dirty="0" err="1"/>
              <a:t>sysdebug</a:t>
            </a:r>
            <a:endParaRPr lang="en-US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Forum should not track issues, rather discuss on next level of debug and details on architecture/flows and preference is only technical discussion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Support on reproduction for cluster issues, based on debug findings to reduce TTF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Maintain </a:t>
            </a:r>
            <a:r>
              <a:rPr lang="en-US" dirty="0" err="1"/>
              <a:t>Sysdebug</a:t>
            </a:r>
            <a:r>
              <a:rPr lang="en-US" dirty="0"/>
              <a:t> WIKI, to share information on resources, ownership </a:t>
            </a:r>
            <a:r>
              <a:rPr lang="en-US" dirty="0" err="1"/>
              <a:t>et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5830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766D6A-DC63-3E51-C035-D3E98ACB5E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556C5-CE8C-6547-B838-EA80C61A4AF7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D33E1F7-84AE-644F-E7A2-9DA1DD8814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edback from Domain Manager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2B3CB4-54CA-080A-41A3-6318590B8DE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F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low-chart on entry/exit criteria for </a:t>
            </a:r>
            <a:r>
              <a:rPr lang="en-US" sz="18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ysdebug</a:t>
            </a:r>
            <a:endParaRPr lang="en-US" sz="18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he bug scrubbing for the </a:t>
            </a:r>
            <a:r>
              <a:rPr lang="en-US" sz="18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resighting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is not only for DPMO/Cluster. It can also be for any complex issue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</a:rPr>
              <a:t>Domain Team to provide BKMs’ to the validation team, so that those BKM can be exercised at the time of submission of the issu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</a:rPr>
              <a:t>Need Clear SLA to root-cause, start with Show-Stopper and High exposur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</a:rPr>
              <a:t>Need Clear SLA with the ingredient's teams , start with Show-stopper and High exposure ones’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47486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_Dl4NLcEy4mMEMAwgC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tel_Presentation Template_16x9_ARIAL_081414">
  <a:themeElements>
    <a:clrScheme name="Intel Clear Jan 2014">
      <a:dk1>
        <a:sysClr val="windowText" lastClr="000000"/>
      </a:dk1>
      <a:lt1>
        <a:sysClr val="window" lastClr="FFFFFF"/>
      </a:lt1>
      <a:dk2>
        <a:srgbClr val="004280"/>
      </a:dk2>
      <a:lt2>
        <a:srgbClr val="B1BABF"/>
      </a:lt2>
      <a:accent1>
        <a:srgbClr val="0071C5"/>
      </a:accent1>
      <a:accent2>
        <a:srgbClr val="00AEEF"/>
      </a:accent2>
      <a:accent3>
        <a:srgbClr val="8DC8E8"/>
      </a:accent3>
      <a:accent4>
        <a:srgbClr val="FFDA00"/>
      </a:accent4>
      <a:accent5>
        <a:srgbClr val="FDB813"/>
      </a:accent5>
      <a:accent6>
        <a:srgbClr val="A6CE39"/>
      </a:accent6>
      <a:hlink>
        <a:srgbClr val="00AEEF"/>
      </a:hlink>
      <a:folHlink>
        <a:srgbClr val="0071C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000" dirty="0" smtClean="0">
            <a:solidFill>
              <a:schemeClr val="tx2"/>
            </a:solidFill>
            <a:cs typeface="Neo Sans Intel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intel16x9">
  <a:themeElements>
    <a:clrScheme name="Custom 2">
      <a:dk1>
        <a:sysClr val="windowText" lastClr="000000"/>
      </a:dk1>
      <a:lt1>
        <a:sysClr val="window" lastClr="FFFFFF"/>
      </a:lt1>
      <a:dk2>
        <a:srgbClr val="003C71"/>
      </a:dk2>
      <a:lt2>
        <a:srgbClr val="E7E6E6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C4D600"/>
      </a:accent5>
      <a:accent6>
        <a:srgbClr val="FC4C02"/>
      </a:accent6>
      <a:hlink>
        <a:srgbClr val="F3D54E"/>
      </a:hlink>
      <a:folHlink>
        <a:srgbClr val="FFA300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alpha val="71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noFill/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2B128FD73D3284B8E2C60FAF150C3DD" ma:contentTypeVersion="16" ma:contentTypeDescription="Create a new document." ma:contentTypeScope="" ma:versionID="9745a160eb09c9701fb4ea29d67fa499">
  <xsd:schema xmlns:xsd="http://www.w3.org/2001/XMLSchema" xmlns:xs="http://www.w3.org/2001/XMLSchema" xmlns:p="http://schemas.microsoft.com/office/2006/metadata/properties" xmlns:ns2="f7bd8469-7a64-4129-9921-89daf8af5d52" xmlns:ns3="1119d5f6-9638-4c4c-b252-84e3d1334e15" xmlns:ns4="a7bc6c04-a6f3-4b85-abcc-278c78dc556b" targetNamespace="http://schemas.microsoft.com/office/2006/metadata/properties" ma:root="true" ma:fieldsID="8ff007fa3bf9d427d2dfb81d3662fdcb" ns2:_="" ns3:_="" ns4:_="">
    <xsd:import namespace="f7bd8469-7a64-4129-9921-89daf8af5d52"/>
    <xsd:import namespace="1119d5f6-9638-4c4c-b252-84e3d1334e15"/>
    <xsd:import namespace="a7bc6c04-a6f3-4b85-abcc-278c78dc556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4:TaxCatchAll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bd8469-7a64-4129-9921-89daf8af5d5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72a7515c-90a7-421b-ad67-16208a05513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19d5f6-9638-4c4c-b252-84e3d1334e15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bc6c04-a6f3-4b85-abcc-278c78dc556b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dd494ea1-b22b-4e4f-9efa-b0cecec5e685}" ma:internalName="TaxCatchAll" ma:showField="CatchAllData" ma:web="1119d5f6-9638-4c4c-b252-84e3d1334e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119d5f6-9638-4c4c-b252-84e3d1334e15">
      <UserInfo>
        <DisplayName>Ray, Sujoy</DisplayName>
        <AccountId>469</AccountId>
        <AccountType/>
      </UserInfo>
    </SharedWithUsers>
    <TaxCatchAll xmlns="a7bc6c04-a6f3-4b85-abcc-278c78dc556b" xsi:nil="true"/>
    <lcf76f155ced4ddcb4097134ff3c332f xmlns="f7bd8469-7a64-4129-9921-89daf8af5d52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D23A7D8-4456-4CC1-8E3E-80DFCAAB62E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7bd8469-7a64-4129-9921-89daf8af5d52"/>
    <ds:schemaRef ds:uri="1119d5f6-9638-4c4c-b252-84e3d1334e15"/>
    <ds:schemaRef ds:uri="a7bc6c04-a6f3-4b85-abcc-278c78dc556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33B27D2-A8B3-4016-9DCD-D4369F8D268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C5206BC-C3A3-4AD3-998D-2BA3DCB54263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www.w3.org/XML/1998/namespace"/>
    <ds:schemaRef ds:uri="b9b41ef8-d18f-43f0-a369-a96a747c92b7"/>
    <ds:schemaRef ds:uri="c61f9af6-7819-41b0-9307-0f581cbb7e4c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1119d5f6-9638-4c4c-b252-84e3d1334e15"/>
    <ds:schemaRef ds:uri="a7bc6c04-a6f3-4b85-abcc-278c78dc556b"/>
    <ds:schemaRef ds:uri="f7bd8469-7a64-4129-9921-89daf8af5d52"/>
  </ds:schemaRefs>
</ds:datastoreItem>
</file>

<file path=docMetadata/LabelInfo.xml><?xml version="1.0" encoding="utf-8"?>
<clbl:labelList xmlns:clbl="http://schemas.microsoft.com/office/2020/mipLabelMetadata">
  <clbl:label id="{9aa06179-68b3-4e2b-b09b-a2424735516b}" enabled="1" method="Standard" siteId="{46c98d88-e344-4ed4-8496-4ed7712e255d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5</TotalTime>
  <Words>572</Words>
  <Application>Microsoft Office PowerPoint</Application>
  <PresentationFormat>Widescreen</PresentationFormat>
  <Paragraphs>60</Paragraphs>
  <Slides>9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Intel_Presentation Template_16x9_ARIAL_081414</vt:lpstr>
      <vt:lpstr>1_intel16x9</vt:lpstr>
      <vt:lpstr>SysDebug Handbook</vt:lpstr>
      <vt:lpstr>Sysdebug Inputs</vt:lpstr>
      <vt:lpstr>Sysdebug Output</vt:lpstr>
      <vt:lpstr>Sysdebug expectation</vt:lpstr>
      <vt:lpstr>Sysdebug not do</vt:lpstr>
      <vt:lpstr>Sysdebug Manager</vt:lpstr>
      <vt:lpstr>PowerPoint Presentation</vt:lpstr>
      <vt:lpstr>Feedback from Architecture Group</vt:lpstr>
      <vt:lpstr>Feedback from Domain Manager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ghting Flow</dc:title>
  <dc:creator>sudeep.puligundla@intel.com</dc:creator>
  <cp:keywords>CTPClassification=:VisualMarkings=, CTPClassification=CTP_IC:VisualMarkings=, CTPClassification=CTP_IC</cp:keywords>
  <cp:lastModifiedBy>Lin, Matthew1</cp:lastModifiedBy>
  <cp:revision>12</cp:revision>
  <cp:lastPrinted>2019-01-24T16:25:22Z</cp:lastPrinted>
  <dcterms:created xsi:type="dcterms:W3CDTF">2017-01-06T23:13:20Z</dcterms:created>
  <dcterms:modified xsi:type="dcterms:W3CDTF">2025-06-20T08:36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f1abd1d-9003-4301-ac23-42237da07306</vt:lpwstr>
  </property>
  <property fmtid="{D5CDD505-2E9C-101B-9397-08002B2CF9AE}" pid="3" name="CTP_BU">
    <vt:lpwstr>DATACENTER PLAT ENGI &amp; ARCH GROUP</vt:lpwstr>
  </property>
  <property fmtid="{D5CDD505-2E9C-101B-9397-08002B2CF9AE}" pid="4" name="CTP_TimeStamp">
    <vt:lpwstr>2020-08-25 13:21:39Z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IC</vt:lpwstr>
  </property>
  <property fmtid="{D5CDD505-2E9C-101B-9397-08002B2CF9AE}" pid="8" name="Offisync_ServerID">
    <vt:lpwstr>d001a694-7c66-4352-b53b-895ffdce369f</vt:lpwstr>
  </property>
  <property fmtid="{D5CDD505-2E9C-101B-9397-08002B2CF9AE}" pid="9" name="Jive_LatestUserAccountName">
    <vt:lpwstr>spuligun</vt:lpwstr>
  </property>
  <property fmtid="{D5CDD505-2E9C-101B-9397-08002B2CF9AE}" pid="10" name="Offisync_UpdateToken">
    <vt:lpwstr>1</vt:lpwstr>
  </property>
  <property fmtid="{D5CDD505-2E9C-101B-9397-08002B2CF9AE}" pid="11" name="Offisync_UniqueId">
    <vt:lpwstr>2359601</vt:lpwstr>
  </property>
  <property fmtid="{D5CDD505-2E9C-101B-9397-08002B2CF9AE}" pid="12" name="Offisync_ProviderInitializationData">
    <vt:lpwstr>https://soco.intel.com</vt:lpwstr>
  </property>
  <property fmtid="{D5CDD505-2E9C-101B-9397-08002B2CF9AE}" pid="13" name="Jive_VersionGuid">
    <vt:lpwstr>cfaaba8f-e176-4d4f-84ee-0e949b4de115</vt:lpwstr>
  </property>
  <property fmtid="{D5CDD505-2E9C-101B-9397-08002B2CF9AE}" pid="14" name="ContentTypeId">
    <vt:lpwstr>0x010100D2B128FD73D3284B8E2C60FAF150C3DD</vt:lpwstr>
  </property>
  <property fmtid="{D5CDD505-2E9C-101B-9397-08002B2CF9AE}" pid="15" name="MSIP_Label_9aa06179-68b3-4e2b-b09b-a2424735516b_Enabled">
    <vt:lpwstr>True</vt:lpwstr>
  </property>
  <property fmtid="{D5CDD505-2E9C-101B-9397-08002B2CF9AE}" pid="16" name="MSIP_Label_9aa06179-68b3-4e2b-b09b-a2424735516b_SiteId">
    <vt:lpwstr>46c98d88-e344-4ed4-8496-4ed7712e255d</vt:lpwstr>
  </property>
  <property fmtid="{D5CDD505-2E9C-101B-9397-08002B2CF9AE}" pid="17" name="MSIP_Label_9aa06179-68b3-4e2b-b09b-a2424735516b_Owner">
    <vt:lpwstr>suresh.babu.n.chunduru@intel.com</vt:lpwstr>
  </property>
  <property fmtid="{D5CDD505-2E9C-101B-9397-08002B2CF9AE}" pid="18" name="MSIP_Label_9aa06179-68b3-4e2b-b09b-a2424735516b_SetDate">
    <vt:lpwstr>2020-09-14T01:39:46.6992036Z</vt:lpwstr>
  </property>
  <property fmtid="{D5CDD505-2E9C-101B-9397-08002B2CF9AE}" pid="19" name="MSIP_Label_9aa06179-68b3-4e2b-b09b-a2424735516b_Name">
    <vt:lpwstr>Intel Confidential</vt:lpwstr>
  </property>
  <property fmtid="{D5CDD505-2E9C-101B-9397-08002B2CF9AE}" pid="20" name="MSIP_Label_9aa06179-68b3-4e2b-b09b-a2424735516b_Application">
    <vt:lpwstr>Microsoft Azure Information Protection</vt:lpwstr>
  </property>
  <property fmtid="{D5CDD505-2E9C-101B-9397-08002B2CF9AE}" pid="21" name="MSIP_Label_9aa06179-68b3-4e2b-b09b-a2424735516b_ActionId">
    <vt:lpwstr>fef7bbff-60fb-4539-8478-a9da4f9d8f21</vt:lpwstr>
  </property>
  <property fmtid="{D5CDD505-2E9C-101B-9397-08002B2CF9AE}" pid="22" name="MSIP_Label_9aa06179-68b3-4e2b-b09b-a2424735516b_Extended_MSFT_Method">
    <vt:lpwstr>Automatic</vt:lpwstr>
  </property>
  <property fmtid="{D5CDD505-2E9C-101B-9397-08002B2CF9AE}" pid="23" name="Sensitivity">
    <vt:lpwstr>Intel Confidential</vt:lpwstr>
  </property>
</Properties>
</file>